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comments/modernComment_112_F889CE7E.xml" ContentType="application/vnd.ms-powerpoint.comments+xml"/>
  <Override PartName="/ppt/tags/tag9.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15"/>
  </p:notesMasterIdLst>
  <p:sldIdLst>
    <p:sldId id="261" r:id="rId6"/>
    <p:sldId id="269" r:id="rId7"/>
    <p:sldId id="270" r:id="rId8"/>
    <p:sldId id="275" r:id="rId9"/>
    <p:sldId id="268" r:id="rId10"/>
    <p:sldId id="264" r:id="rId11"/>
    <p:sldId id="274" r:id="rId12"/>
    <p:sldId id="277" r:id="rId13"/>
    <p:sldId id="273" r:id="rId14"/>
  </p:sldIdLst>
  <p:sldSz cx="9144000" cy="5111750"/>
  <p:notesSz cx="14255750" cy="9774238"/>
  <p:custDataLst>
    <p:tags r:id="rId16"/>
  </p:custDataLst>
  <p:defaultTextStyle>
    <a:defPPr>
      <a:defRPr lang="nb-NO"/>
    </a:defPPr>
    <a:lvl1pPr marL="0" algn="l" defTabSz="684246" rtl="0" eaLnBrk="1" latinLnBrk="0" hangingPunct="1">
      <a:defRPr sz="1347" kern="1200">
        <a:solidFill>
          <a:schemeClr val="tx1"/>
        </a:solidFill>
        <a:latin typeface="+mn-lt"/>
        <a:ea typeface="+mn-ea"/>
        <a:cs typeface="+mn-cs"/>
      </a:defRPr>
    </a:lvl1pPr>
    <a:lvl2pPr marL="342123" algn="l" defTabSz="684246" rtl="0" eaLnBrk="1" latinLnBrk="0" hangingPunct="1">
      <a:defRPr sz="1347" kern="1200">
        <a:solidFill>
          <a:schemeClr val="tx1"/>
        </a:solidFill>
        <a:latin typeface="+mn-lt"/>
        <a:ea typeface="+mn-ea"/>
        <a:cs typeface="+mn-cs"/>
      </a:defRPr>
    </a:lvl2pPr>
    <a:lvl3pPr marL="684246" algn="l" defTabSz="684246" rtl="0" eaLnBrk="1" latinLnBrk="0" hangingPunct="1">
      <a:defRPr sz="1347" kern="1200">
        <a:solidFill>
          <a:schemeClr val="tx1"/>
        </a:solidFill>
        <a:latin typeface="+mn-lt"/>
        <a:ea typeface="+mn-ea"/>
        <a:cs typeface="+mn-cs"/>
      </a:defRPr>
    </a:lvl3pPr>
    <a:lvl4pPr marL="1026368" algn="l" defTabSz="684246" rtl="0" eaLnBrk="1" latinLnBrk="0" hangingPunct="1">
      <a:defRPr sz="1347" kern="1200">
        <a:solidFill>
          <a:schemeClr val="tx1"/>
        </a:solidFill>
        <a:latin typeface="+mn-lt"/>
        <a:ea typeface="+mn-ea"/>
        <a:cs typeface="+mn-cs"/>
      </a:defRPr>
    </a:lvl4pPr>
    <a:lvl5pPr marL="1368491" algn="l" defTabSz="684246" rtl="0" eaLnBrk="1" latinLnBrk="0" hangingPunct="1">
      <a:defRPr sz="1347" kern="1200">
        <a:solidFill>
          <a:schemeClr val="tx1"/>
        </a:solidFill>
        <a:latin typeface="+mn-lt"/>
        <a:ea typeface="+mn-ea"/>
        <a:cs typeface="+mn-cs"/>
      </a:defRPr>
    </a:lvl5pPr>
    <a:lvl6pPr marL="1710614" algn="l" defTabSz="684246" rtl="0" eaLnBrk="1" latinLnBrk="0" hangingPunct="1">
      <a:defRPr sz="1347" kern="1200">
        <a:solidFill>
          <a:schemeClr val="tx1"/>
        </a:solidFill>
        <a:latin typeface="+mn-lt"/>
        <a:ea typeface="+mn-ea"/>
        <a:cs typeface="+mn-cs"/>
      </a:defRPr>
    </a:lvl6pPr>
    <a:lvl7pPr marL="2052737" algn="l" defTabSz="684246" rtl="0" eaLnBrk="1" latinLnBrk="0" hangingPunct="1">
      <a:defRPr sz="1347" kern="1200">
        <a:solidFill>
          <a:schemeClr val="tx1"/>
        </a:solidFill>
        <a:latin typeface="+mn-lt"/>
        <a:ea typeface="+mn-ea"/>
        <a:cs typeface="+mn-cs"/>
      </a:defRPr>
    </a:lvl7pPr>
    <a:lvl8pPr marL="2394859" algn="l" defTabSz="684246" rtl="0" eaLnBrk="1" latinLnBrk="0" hangingPunct="1">
      <a:defRPr sz="1347" kern="1200">
        <a:solidFill>
          <a:schemeClr val="tx1"/>
        </a:solidFill>
        <a:latin typeface="+mn-lt"/>
        <a:ea typeface="+mn-ea"/>
        <a:cs typeface="+mn-cs"/>
      </a:defRPr>
    </a:lvl8pPr>
    <a:lvl9pPr marL="2736982" algn="l" defTabSz="684246" rtl="0" eaLnBrk="1" latinLnBrk="0" hangingPunct="1">
      <a:defRPr sz="1347"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7921274-A243-60C3-8DB0-D7227B1AC670}" name="Lars Tennbakk Bockman" initials="LB" userId="S::lars.bockman@fornybarnorge.no::5a235df0-e381-4c4c-99ce-24b4b21fb9d1" providerId="AD"/>
  <p188:author id="{5E3A118B-92BF-8F94-E3E6-76E6F07C9213}" name="Iselin Ekeli Rønningsbakk" initials="IR" userId="S::iselin.ronningsbakk@fornybarnorge.no::187300ae-9cb6-416d-8a94-664ca977a24d"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17543D"/>
    <a:srgbClr val="8A00FA"/>
    <a:srgbClr val="E6D1FF"/>
    <a:srgbClr val="5F00C2"/>
    <a:srgbClr val="80F1CB"/>
    <a:srgbClr val="4BF0C5"/>
    <a:srgbClr val="00583C"/>
    <a:srgbClr val="8C00F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25E5076-3810-47DD-B79F-674D7AD40C01}" styleName="Mørk stil 1 – utheving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Mørk stil 1 – utheving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Mørk stil 1 – utheving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Mørk stil 1 – utheving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iddels stil 2 – uthev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27F97BB-C833-4FB7-BDE5-3F7075034690}" styleName="Temastil 2 – utheving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emastil 2 – utheving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E3FDE45-AF77-4B5C-9715-49D594BDF05E}" styleName="Lys stil 1 – utheving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A107856-5554-42FB-B03E-39F5DBC370BA}" styleName="Middels stil 4 – utheving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Middels stil 1 – utheving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Middels stil 3 – utheving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3296810-A885-4BE3-A3E7-6D5BEEA58F35}" styleName="Middels stil 2 – utheving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660B408-B3CF-4A94-85FC-2B1E0A45F4A2}" styleName="Mørk stil 2 – utheving 1 / utheving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E929F9F4-4A8F-4326-A1B4-22849713DDAB}" styleName="Mørk stil 1 – utheving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97" d="100"/>
          <a:sy n="197" d="100"/>
        </p:scale>
        <p:origin x="744" y="15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1.xml"/><Relationship Id="rId15"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rs Tennbakk Bockman" userId="5a235df0-e381-4c4c-99ce-24b4b21fb9d1" providerId="ADAL" clId="{2A9B793B-E7F3-45B6-8056-E74BFFFEF538}"/>
    <pc:docChg chg="undo custSel modSld">
      <pc:chgData name="Lars Tennbakk Bockman" userId="5a235df0-e381-4c4c-99ce-24b4b21fb9d1" providerId="ADAL" clId="{2A9B793B-E7F3-45B6-8056-E74BFFFEF538}" dt="2024-04-12T11:02:21.519" v="1452" actId="14100"/>
      <pc:docMkLst>
        <pc:docMk/>
      </pc:docMkLst>
      <pc:sldChg chg="modSp mod">
        <pc:chgData name="Lars Tennbakk Bockman" userId="5a235df0-e381-4c4c-99ce-24b4b21fb9d1" providerId="ADAL" clId="{2A9B793B-E7F3-45B6-8056-E74BFFFEF538}" dt="2024-04-10T12:49:44.559" v="1139" actId="20577"/>
        <pc:sldMkLst>
          <pc:docMk/>
          <pc:sldMk cId="4148148830" sldId="259"/>
        </pc:sldMkLst>
      </pc:sldChg>
      <pc:sldChg chg="addSp delSp modSp mod">
        <pc:chgData name="Lars Tennbakk Bockman" userId="5a235df0-e381-4c4c-99ce-24b4b21fb9d1" providerId="ADAL" clId="{2A9B793B-E7F3-45B6-8056-E74BFFFEF538}" dt="2024-04-10T12:52:37.290" v="1159" actId="14100"/>
        <pc:sldMkLst>
          <pc:docMk/>
          <pc:sldMk cId="362544367" sldId="264"/>
        </pc:sldMkLst>
      </pc:sldChg>
      <pc:sldChg chg="modSp mod">
        <pc:chgData name="Lars Tennbakk Bockman" userId="5a235df0-e381-4c4c-99ce-24b4b21fb9d1" providerId="ADAL" clId="{2A9B793B-E7F3-45B6-8056-E74BFFFEF538}" dt="2024-04-10T12:57:51.231" v="1442" actId="20577"/>
        <pc:sldMkLst>
          <pc:docMk/>
          <pc:sldMk cId="4169780862" sldId="274"/>
        </pc:sldMkLst>
      </pc:sldChg>
    </pc:docChg>
  </pc:docChgLst>
  <pc:docChgLst>
    <pc:chgData name="Lars Tennbakk Bockman" userId="S::lars.bockman@fornybarnorge.no::5a235df0-e381-4c4c-99ce-24b4b21fb9d1" providerId="AD" clId="Web-{135D72C6-048A-1E52-1933-57CFC18A5CB6}"/>
    <pc:docChg chg="">
      <pc:chgData name="Lars Tennbakk Bockman" userId="S::lars.bockman@fornybarnorge.no::5a235df0-e381-4c4c-99ce-24b4b21fb9d1" providerId="AD" clId="Web-{135D72C6-048A-1E52-1933-57CFC18A5CB6}" dt="2024-06-05T13:57:23.973" v="0"/>
      <pc:docMkLst>
        <pc:docMk/>
      </pc:docMkLst>
    </pc:docChg>
  </pc:docChgLst>
  <pc:docChgLst>
    <pc:chgData name="Lars Tennbakk Bockman" userId="S::lars.bockman@fornybarnorge.no::5a235df0-e381-4c4c-99ce-24b4b21fb9d1" providerId="AD" clId="Web-{1A8F27FA-4149-B5EE-0076-986A53F64FF3}"/>
    <pc:docChg chg="modSld">
      <pc:chgData name="Lars Tennbakk Bockman" userId="S::lars.bockman@fornybarnorge.no::5a235df0-e381-4c4c-99ce-24b4b21fb9d1" providerId="AD" clId="Web-{1A8F27FA-4149-B5EE-0076-986A53F64FF3}" dt="2024-11-05T16:04:53.866" v="171" actId="20577"/>
      <pc:docMkLst>
        <pc:docMk/>
      </pc:docMkLst>
    </pc:docChg>
  </pc:docChgLst>
  <pc:docChgLst>
    <pc:chgData name="Iselin Ekeli Rønningsbakk" userId="187300ae-9cb6-416d-8a94-664ca977a24d" providerId="ADAL" clId="{9D20F3F0-BFFC-4B67-9A36-9CDA6B23B3A5}"/>
    <pc:docChg chg="modSld">
      <pc:chgData name="Iselin Ekeli Rønningsbakk" userId="187300ae-9cb6-416d-8a94-664ca977a24d" providerId="ADAL" clId="{9D20F3F0-BFFC-4B67-9A36-9CDA6B23B3A5}" dt="2024-08-02T11:52:00.427" v="18" actId="6549"/>
      <pc:docMkLst>
        <pc:docMk/>
      </pc:docMkLst>
    </pc:docChg>
  </pc:docChgLst>
  <pc:docChgLst>
    <pc:chgData name="Iselin Ekeli Rønningsbakk" userId="187300ae-9cb6-416d-8a94-664ca977a24d" providerId="ADAL" clId="{6D3122AF-6DAA-4CA4-9E60-9ADAFB76A1C2}"/>
    <pc:docChg chg="modSld">
      <pc:chgData name="Iselin Ekeli Rønningsbakk" userId="187300ae-9cb6-416d-8a94-664ca977a24d" providerId="ADAL" clId="{6D3122AF-6DAA-4CA4-9E60-9ADAFB76A1C2}" dt="2025-03-07T13:16:44.862" v="58" actId="20577"/>
      <pc:docMkLst>
        <pc:docMk/>
      </pc:docMkLst>
      <pc:sldChg chg="modSp mod">
        <pc:chgData name="Iselin Ekeli Rønningsbakk" userId="187300ae-9cb6-416d-8a94-664ca977a24d" providerId="ADAL" clId="{6D3122AF-6DAA-4CA4-9E60-9ADAFB76A1C2}" dt="2025-03-07T13:16:44.862" v="58" actId="20577"/>
        <pc:sldMkLst>
          <pc:docMk/>
          <pc:sldMk cId="3149972175" sldId="261"/>
        </pc:sldMkLst>
        <pc:spChg chg="mod">
          <ac:chgData name="Iselin Ekeli Rønningsbakk" userId="187300ae-9cb6-416d-8a94-664ca977a24d" providerId="ADAL" clId="{6D3122AF-6DAA-4CA4-9E60-9ADAFB76A1C2}" dt="2025-03-07T13:16:44.862" v="58" actId="20577"/>
          <ac:spMkLst>
            <pc:docMk/>
            <pc:sldMk cId="3149972175" sldId="261"/>
            <ac:spMk id="15" creationId="{71CD328A-FCBF-98DB-A3A2-36A13A7E9980}"/>
          </ac:spMkLst>
        </pc:spChg>
      </pc:sldChg>
    </pc:docChg>
  </pc:docChgLst>
  <pc:docChgLst>
    <pc:chgData name="Iselin Ekeli Rønningsbakk" userId="187300ae-9cb6-416d-8a94-664ca977a24d" providerId="ADAL" clId="{BE1E70E2-D39A-49B1-B6DD-553612B71992}"/>
    <pc:docChg chg="modSld">
      <pc:chgData name="Iselin Ekeli Rønningsbakk" userId="187300ae-9cb6-416d-8a94-664ca977a24d" providerId="ADAL" clId="{BE1E70E2-D39A-49B1-B6DD-553612B71992}" dt="2024-09-11T12:17:57.257" v="213" actId="20577"/>
      <pc:docMkLst>
        <pc:docMk/>
      </pc:docMkLst>
    </pc:docChg>
  </pc:docChgLst>
  <pc:docChgLst>
    <pc:chgData name="Iselin Ekeli Rønningsbakk" userId="187300ae-9cb6-416d-8a94-664ca977a24d" providerId="ADAL" clId="{5F641DE6-CC49-48F8-A0F4-086A1F319900}"/>
    <pc:docChg chg="custSel modSld">
      <pc:chgData name="Iselin Ekeli Rønningsbakk" userId="187300ae-9cb6-416d-8a94-664ca977a24d" providerId="ADAL" clId="{5F641DE6-CC49-48F8-A0F4-086A1F319900}" dt="2025-02-06T14:58:30.538" v="4" actId="14100"/>
      <pc:docMkLst>
        <pc:docMk/>
      </pc:docMkLst>
    </pc:docChg>
  </pc:docChgLst>
  <pc:docChgLst>
    <pc:chgData name="Iselin Ekeli Rønningsbakk" userId="187300ae-9cb6-416d-8a94-664ca977a24d" providerId="ADAL" clId="{F1D83740-C90A-443B-A813-B62DF0466D34}"/>
    <pc:docChg chg="">
      <pc:chgData name="Iselin Ekeli Rønningsbakk" userId="187300ae-9cb6-416d-8a94-664ca977a24d" providerId="ADAL" clId="{F1D83740-C90A-443B-A813-B62DF0466D34}" dt="2024-04-10T11:40:34.581" v="0"/>
      <pc:docMkLst>
        <pc:docMk/>
      </pc:docMkLst>
    </pc:docChg>
  </pc:docChgLst>
  <pc:docChgLst>
    <pc:chgData name="Iselin Ekeli Rønningsbakk" userId="187300ae-9cb6-416d-8a94-664ca977a24d" providerId="ADAL" clId="{1C090565-8034-4003-8340-2DCEFA9A6173}"/>
    <pc:docChg chg="undo custSel addSld delSld modSld">
      <pc:chgData name="Iselin Ekeli Rønningsbakk" userId="187300ae-9cb6-416d-8a94-664ca977a24d" providerId="ADAL" clId="{1C090565-8034-4003-8340-2DCEFA9A6173}" dt="2024-12-05T13:39:02.361" v="295" actId="14100"/>
      <pc:docMkLst>
        <pc:docMk/>
      </pc:docMkLst>
      <pc:sldChg chg="add del setBg">
        <pc:chgData name="Iselin Ekeli Rønningsbakk" userId="187300ae-9cb6-416d-8a94-664ca977a24d" providerId="ADAL" clId="{1C090565-8034-4003-8340-2DCEFA9A6173}" dt="2024-12-05T13:38:32.723" v="287"/>
        <pc:sldMkLst>
          <pc:docMk/>
          <pc:sldMk cId="1380827816" sldId="262"/>
        </pc:sldMkLst>
      </pc:sldChg>
    </pc:docChg>
  </pc:docChgLst>
  <pc:docChgLst>
    <pc:chgData name="Lars Bockman" userId="5a235df0-e381-4c4c-99ce-24b4b21fb9d1" providerId="ADAL" clId="{4F9A5B8A-219F-4CFC-84AD-F24907C89CAF}"/>
    <pc:docChg chg="custSel delSld modSld">
      <pc:chgData name="Lars Bockman" userId="5a235df0-e381-4c4c-99ce-24b4b21fb9d1" providerId="ADAL" clId="{4F9A5B8A-219F-4CFC-84AD-F24907C89CAF}" dt="2024-06-26T08:43:15.269" v="1800" actId="20577"/>
      <pc:docMkLst>
        <pc:docMk/>
      </pc:docMkLst>
      <pc:sldChg chg="modSp del mod">
        <pc:chgData name="Lars Bockman" userId="5a235df0-e381-4c4c-99ce-24b4b21fb9d1" providerId="ADAL" clId="{4F9A5B8A-219F-4CFC-84AD-F24907C89CAF}" dt="2024-06-26T08:30:18.717" v="1336" actId="47"/>
        <pc:sldMkLst>
          <pc:docMk/>
          <pc:sldMk cId="4100358197" sldId="278"/>
        </pc:sldMkLst>
      </pc:sldChg>
    </pc:docChg>
  </pc:docChgLst>
  <pc:docChgLst>
    <pc:chgData name="Lars Tennbakk Bockman" userId="5a235df0-e381-4c4c-99ce-24b4b21fb9d1" providerId="ADAL" clId="{A7DE190F-5016-4198-8635-9E60638771CF}"/>
    <pc:docChg chg="modSld">
      <pc:chgData name="Lars Tennbakk Bockman" userId="5a235df0-e381-4c4c-99ce-24b4b21fb9d1" providerId="ADAL" clId="{A7DE190F-5016-4198-8635-9E60638771CF}" dt="2024-11-06T15:19:20.660" v="665" actId="14826"/>
      <pc:docMkLst>
        <pc:docMk/>
      </pc:docMkLst>
    </pc:docChg>
  </pc:docChgLst>
  <pc:docChgLst>
    <pc:chgData name="Iselin Ekeli Rønningsbakk" userId="187300ae-9cb6-416d-8a94-664ca977a24d" providerId="ADAL" clId="{BE415681-EBBA-409D-AB3C-C601BB43A582}"/>
    <pc:docChg chg="custSel addSld delSld modSld">
      <pc:chgData name="Iselin Ekeli Rønningsbakk" userId="187300ae-9cb6-416d-8a94-664ca977a24d" providerId="ADAL" clId="{BE415681-EBBA-409D-AB3C-C601BB43A582}" dt="2024-11-07T12:23:49.724" v="1337" actId="1076"/>
      <pc:docMkLst>
        <pc:docMk/>
      </pc:docMkLst>
      <pc:sldChg chg="add del setBg">
        <pc:chgData name="Iselin Ekeli Rønningsbakk" userId="187300ae-9cb6-416d-8a94-664ca977a24d" providerId="ADAL" clId="{BE415681-EBBA-409D-AB3C-C601BB43A582}" dt="2024-11-07T12:23:15.848" v="1329"/>
        <pc:sldMkLst>
          <pc:docMk/>
          <pc:sldMk cId="1380827816" sldId="262"/>
        </pc:sldMkLst>
      </pc:sldChg>
    </pc:docChg>
  </pc:docChgLst>
  <pc:docChgLst>
    <pc:chgData name="Iselin Ekeli Rønningsbakk" userId="187300ae-9cb6-416d-8a94-664ca977a24d" providerId="ADAL" clId="{0DF6054F-01A5-4628-8EFC-6C2F0860B282}"/>
    <pc:docChg chg="custSel addSld delSld modSld">
      <pc:chgData name="Iselin Ekeli Rønningsbakk" userId="187300ae-9cb6-416d-8a94-664ca977a24d" providerId="ADAL" clId="{0DF6054F-01A5-4628-8EFC-6C2F0860B282}" dt="2024-11-06T11:42:38.762" v="2113" actId="6549"/>
      <pc:docMkLst>
        <pc:docMk/>
      </pc:docMkLst>
      <pc:sldChg chg="add del setBg">
        <pc:chgData name="Iselin Ekeli Rønningsbakk" userId="187300ae-9cb6-416d-8a94-664ca977a24d" providerId="ADAL" clId="{0DF6054F-01A5-4628-8EFC-6C2F0860B282}" dt="2024-11-05T12:13:54.129" v="21"/>
        <pc:sldMkLst>
          <pc:docMk/>
          <pc:sldMk cId="1380827816" sldId="262"/>
        </pc:sldMkLst>
      </pc:sldChg>
    </pc:docChg>
  </pc:docChgLst>
  <pc:docChgLst>
    <pc:chgData name="Iselin Ekeli Rønningsbakk" userId="187300ae-9cb6-416d-8a94-664ca977a24d" providerId="ADAL" clId="{A4E6CF00-9136-4E39-8A4A-CD8BA2416FAB}"/>
    <pc:docChg chg="custSel addSld delSld modSld">
      <pc:chgData name="Iselin Ekeli Rønningsbakk" userId="187300ae-9cb6-416d-8a94-664ca977a24d" providerId="ADAL" clId="{A4E6CF00-9136-4E39-8A4A-CD8BA2416FAB}" dt="2025-01-08T13:57:50.272" v="8261" actId="1076"/>
      <pc:docMkLst>
        <pc:docMk/>
      </pc:docMkLst>
      <pc:sldChg chg="add del setBg">
        <pc:chgData name="Iselin Ekeli Rønningsbakk" userId="187300ae-9cb6-416d-8a94-664ca977a24d" providerId="ADAL" clId="{A4E6CF00-9136-4E39-8A4A-CD8BA2416FAB}" dt="2025-01-07T10:13:27.355" v="55"/>
        <pc:sldMkLst>
          <pc:docMk/>
          <pc:sldMk cId="1380827816" sldId="262"/>
        </pc:sldMkLst>
      </pc:sldChg>
      <pc:sldChg chg="modSp mod">
        <pc:chgData name="Iselin Ekeli Rønningsbakk" userId="187300ae-9cb6-416d-8a94-664ca977a24d" providerId="ADAL" clId="{A4E6CF00-9136-4E39-8A4A-CD8BA2416FAB}" dt="2025-01-07T09:26:25.231" v="35" actId="1076"/>
        <pc:sldMkLst>
          <pc:docMk/>
          <pc:sldMk cId="362544367" sldId="264"/>
        </pc:sldMkLst>
        <pc:spChg chg="mod">
          <ac:chgData name="Iselin Ekeli Rønningsbakk" userId="187300ae-9cb6-416d-8a94-664ca977a24d" providerId="ADAL" clId="{A4E6CF00-9136-4E39-8A4A-CD8BA2416FAB}" dt="2025-01-07T09:26:25.231" v="35" actId="1076"/>
          <ac:spMkLst>
            <pc:docMk/>
            <pc:sldMk cId="362544367" sldId="264"/>
            <ac:spMk id="2" creationId="{5213922F-444B-9587-AFC4-5C4C6A8D8FDB}"/>
          </ac:spMkLst>
        </pc:spChg>
      </pc:sldChg>
      <pc:sldChg chg="modSp mod">
        <pc:chgData name="Iselin Ekeli Rønningsbakk" userId="187300ae-9cb6-416d-8a94-664ca977a24d" providerId="ADAL" clId="{A4E6CF00-9136-4E39-8A4A-CD8BA2416FAB}" dt="2025-01-08T13:52:01.932" v="7617" actId="255"/>
        <pc:sldMkLst>
          <pc:docMk/>
          <pc:sldMk cId="684640037" sldId="278"/>
        </pc:sldMkLst>
      </pc:sldChg>
      <pc:sldChg chg="modSp mod">
        <pc:chgData name="Iselin Ekeli Rønningsbakk" userId="187300ae-9cb6-416d-8a94-664ca977a24d" providerId="ADAL" clId="{A4E6CF00-9136-4E39-8A4A-CD8BA2416FAB}" dt="2025-01-08T13:57:50.272" v="8261" actId="1076"/>
        <pc:sldMkLst>
          <pc:docMk/>
          <pc:sldMk cId="575956772" sldId="279"/>
        </pc:sldMkLst>
      </pc:sldChg>
      <pc:sldChg chg="addSp delSp modSp add mod">
        <pc:chgData name="Iselin Ekeli Rønningsbakk" userId="187300ae-9cb6-416d-8a94-664ca977a24d" providerId="ADAL" clId="{A4E6CF00-9136-4E39-8A4A-CD8BA2416FAB}" dt="2025-01-08T12:53:07.410" v="5886" actId="6549"/>
        <pc:sldMkLst>
          <pc:docMk/>
          <pc:sldMk cId="169717518" sldId="282"/>
        </pc:sldMkLst>
      </pc:sldChg>
    </pc:docChg>
  </pc:docChgLst>
  <pc:docChgLst>
    <pc:chgData name="Iselin Ekeli Rønningsbakk" userId="187300ae-9cb6-416d-8a94-664ca977a24d" providerId="ADAL" clId="{0332ED72-990B-4A68-852A-92A874BC34B2}"/>
    <pc:docChg chg="custSel modSld">
      <pc:chgData name="Iselin Ekeli Rønningsbakk" userId="187300ae-9cb6-416d-8a94-664ca977a24d" providerId="ADAL" clId="{0332ED72-990B-4A68-852A-92A874BC34B2}" dt="2025-01-10T21:39:41.277" v="5" actId="14100"/>
      <pc:docMkLst>
        <pc:docMk/>
      </pc:docMkLst>
    </pc:docChg>
  </pc:docChgLst>
  <pc:docChgLst>
    <pc:chgData name="Lars Tennbakk Bockman" userId="5a235df0-e381-4c4c-99ce-24b4b21fb9d1" providerId="ADAL" clId="{F5B85507-1A4C-4B3D-84EF-F1825E13FB00}"/>
    <pc:docChg chg="undo custSel modSld">
      <pc:chgData name="Lars Tennbakk Bockman" userId="5a235df0-e381-4c4c-99ce-24b4b21fb9d1" providerId="ADAL" clId="{F5B85507-1A4C-4B3D-84EF-F1825E13FB00}" dt="2024-08-02T10:53:35.473" v="6180" actId="20577"/>
      <pc:docMkLst>
        <pc:docMk/>
      </pc:docMkLst>
      <pc:sldChg chg="modSp mod">
        <pc:chgData name="Lars Tennbakk Bockman" userId="5a235df0-e381-4c4c-99ce-24b4b21fb9d1" providerId="ADAL" clId="{F5B85507-1A4C-4B3D-84EF-F1825E13FB00}" dt="2024-08-02T10:53:11.563" v="6163" actId="20577"/>
        <pc:sldMkLst>
          <pc:docMk/>
          <pc:sldMk cId="4148148830" sldId="259"/>
        </pc:sldMkLst>
      </pc:sldChg>
      <pc:sldChg chg="addSp delSp modSp mod delCm">
        <pc:chgData name="Lars Tennbakk Bockman" userId="5a235df0-e381-4c4c-99ce-24b4b21fb9d1" providerId="ADAL" clId="{F5B85507-1A4C-4B3D-84EF-F1825E13FB00}" dt="2024-08-02T10:52:40.388" v="6148" actId="20577"/>
        <pc:sldMkLst>
          <pc:docMk/>
          <pc:sldMk cId="3809428704" sldId="268"/>
        </pc:sldMkLst>
        <pc:extLst>
          <p:ext xmlns:p="http://schemas.openxmlformats.org/presentationml/2006/main" uri="{D6D511B9-2390-475A-947B-AFAB55BFBCF1}">
            <pc226:cmChg xmlns:pc226="http://schemas.microsoft.com/office/powerpoint/2022/06/main/command" chg="del">
              <pc226:chgData name="Lars Tennbakk Bockman" userId="5a235df0-e381-4c4c-99ce-24b4b21fb9d1" providerId="ADAL" clId="{F5B85507-1A4C-4B3D-84EF-F1825E13FB00}" dt="2024-08-02T10:22:15.492" v="3868"/>
              <pc2:cmMkLst xmlns:pc2="http://schemas.microsoft.com/office/powerpoint/2019/9/main/command">
                <pc:docMk/>
                <pc:sldMk cId="3809428704" sldId="268"/>
                <pc2:cmMk id="{3C57D9D5-FC1D-42BD-8928-94460D7BED35}"/>
              </pc2:cmMkLst>
            </pc226:cmChg>
          </p:ext>
        </pc:extLst>
      </pc:sldChg>
      <pc:sldChg chg="modSp mod">
        <pc:chgData name="Lars Tennbakk Bockman" userId="5a235df0-e381-4c4c-99ce-24b4b21fb9d1" providerId="ADAL" clId="{F5B85507-1A4C-4B3D-84EF-F1825E13FB00}" dt="2024-08-02T10:53:35.473" v="6180" actId="20577"/>
        <pc:sldMkLst>
          <pc:docMk/>
          <pc:sldMk cId="2053668892" sldId="273"/>
        </pc:sldMkLst>
      </pc:sldChg>
      <pc:sldChg chg="modSp">
        <pc:chgData name="Lars Tennbakk Bockman" userId="5a235df0-e381-4c4c-99ce-24b4b21fb9d1" providerId="ADAL" clId="{F5B85507-1A4C-4B3D-84EF-F1825E13FB00}" dt="2024-08-02T10:47:29.208" v="5492" actId="14826"/>
        <pc:sldMkLst>
          <pc:docMk/>
          <pc:sldMk cId="3048309862" sldId="277"/>
        </pc:sldMkLst>
      </pc:sldChg>
    </pc:docChg>
  </pc:docChgLst>
  <pc:docChgLst>
    <pc:chgData name="Lars Tennbakk Bockman" userId="5a235df0-e381-4c4c-99ce-24b4b21fb9d1" providerId="ADAL" clId="{37EF9059-D99C-4752-86C1-B8EAEF640EE7}"/>
    <pc:docChg chg="custSel modSld">
      <pc:chgData name="Lars Tennbakk Bockman" userId="5a235df0-e381-4c4c-99ce-24b4b21fb9d1" providerId="ADAL" clId="{37EF9059-D99C-4752-86C1-B8EAEF640EE7}" dt="2024-05-03T09:21:35.955" v="166" actId="2711"/>
      <pc:docMkLst>
        <pc:docMk/>
      </pc:docMkLst>
      <pc:sldChg chg="modSp mod">
        <pc:chgData name="Lars Tennbakk Bockman" userId="5a235df0-e381-4c4c-99ce-24b4b21fb9d1" providerId="ADAL" clId="{37EF9059-D99C-4752-86C1-B8EAEF640EE7}" dt="2024-05-03T09:14:57.274" v="49" actId="1076"/>
        <pc:sldMkLst>
          <pc:docMk/>
          <pc:sldMk cId="362544367" sldId="264"/>
        </pc:sldMkLst>
      </pc:sldChg>
      <pc:sldChg chg="modSp mod">
        <pc:chgData name="Lars Tennbakk Bockman" userId="5a235df0-e381-4c4c-99ce-24b4b21fb9d1" providerId="ADAL" clId="{37EF9059-D99C-4752-86C1-B8EAEF640EE7}" dt="2024-05-03T09:12:48.498" v="40" actId="20577"/>
        <pc:sldMkLst>
          <pc:docMk/>
          <pc:sldMk cId="964345901" sldId="269"/>
        </pc:sldMkLst>
      </pc:sldChg>
      <pc:sldChg chg="modSp">
        <pc:chgData name="Lars Tennbakk Bockman" userId="5a235df0-e381-4c4c-99ce-24b4b21fb9d1" providerId="ADAL" clId="{37EF9059-D99C-4752-86C1-B8EAEF640EE7}" dt="2024-05-03T09:05:01.521" v="2" actId="14826"/>
        <pc:sldMkLst>
          <pc:docMk/>
          <pc:sldMk cId="4275014000" sldId="270"/>
        </pc:sldMkLst>
      </pc:sldChg>
      <pc:sldChg chg="addSp delSp modSp mod">
        <pc:chgData name="Lars Tennbakk Bockman" userId="5a235df0-e381-4c4c-99ce-24b4b21fb9d1" providerId="ADAL" clId="{37EF9059-D99C-4752-86C1-B8EAEF640EE7}" dt="2024-05-03T09:21:35.955" v="166" actId="2711"/>
        <pc:sldMkLst>
          <pc:docMk/>
          <pc:sldMk cId="4169780862" sldId="274"/>
        </pc:sldMkLst>
      </pc:sldChg>
      <pc:sldChg chg="modSp mod">
        <pc:chgData name="Lars Tennbakk Bockman" userId="5a235df0-e381-4c4c-99ce-24b4b21fb9d1" providerId="ADAL" clId="{37EF9059-D99C-4752-86C1-B8EAEF640EE7}" dt="2024-05-03T09:12:25.161" v="24" actId="20577"/>
        <pc:sldMkLst>
          <pc:docMk/>
          <pc:sldMk cId="1400664593" sldId="275"/>
        </pc:sldMkLst>
      </pc:sldChg>
    </pc:docChg>
  </pc:docChgLst>
  <pc:docChgLst>
    <pc:chgData name="Lars Tennbakk Bockman" userId="S::lars.bockman@fornybarnorge.no::5a235df0-e381-4c4c-99ce-24b4b21fb9d1" providerId="AD" clId="Web-{49FDBC75-4CCE-CB32-F36A-1DA4126E09D9}"/>
    <pc:docChg chg="modSld">
      <pc:chgData name="Lars Tennbakk Bockman" userId="S::lars.bockman@fornybarnorge.no::5a235df0-e381-4c4c-99ce-24b4b21fb9d1" providerId="AD" clId="Web-{49FDBC75-4CCE-CB32-F36A-1DA4126E09D9}" dt="2024-04-03T08:36:42.371" v="1" actId="20577"/>
      <pc:docMkLst>
        <pc:docMk/>
      </pc:docMkLst>
    </pc:docChg>
  </pc:docChgLst>
  <pc:docChgLst>
    <pc:chgData name="Lars Tennbakk Bockman" userId="5a235df0-e381-4c4c-99ce-24b4b21fb9d1" providerId="ADAL" clId="{27B654D7-7A34-4372-8A30-DAD53E62DCF1}"/>
    <pc:docChg chg="undo custSel modSld">
      <pc:chgData name="Lars Tennbakk Bockman" userId="5a235df0-e381-4c4c-99ce-24b4b21fb9d1" providerId="ADAL" clId="{27B654D7-7A34-4372-8A30-DAD53E62DCF1}" dt="2024-12-03T16:01:24.091" v="4831" actId="20577"/>
      <pc:docMkLst>
        <pc:docMk/>
      </pc:docMkLst>
    </pc:docChg>
  </pc:docChgLst>
  <pc:docChgLst>
    <pc:chgData name="Iselin Ekeli Rønningsbakk" userId="187300ae-9cb6-416d-8a94-664ca977a24d" providerId="ADAL" clId="{DE44C537-DB6F-4243-9C35-4B6CAECAAEF1}"/>
    <pc:docChg chg="custSel modSld">
      <pc:chgData name="Iselin Ekeli Rønningsbakk" userId="187300ae-9cb6-416d-8a94-664ca977a24d" providerId="ADAL" clId="{DE44C537-DB6F-4243-9C35-4B6CAECAAEF1}" dt="2024-07-01T12:36:51.606" v="247" actId="6549"/>
      <pc:docMkLst>
        <pc:docMk/>
      </pc:docMkLst>
      <pc:sldChg chg="modSp mod">
        <pc:chgData name="Iselin Ekeli Rønningsbakk" userId="187300ae-9cb6-416d-8a94-664ca977a24d" providerId="ADAL" clId="{DE44C537-DB6F-4243-9C35-4B6CAECAAEF1}" dt="2024-07-01T12:23:50.307" v="241" actId="6549"/>
        <pc:sldMkLst>
          <pc:docMk/>
          <pc:sldMk cId="3149972175" sldId="261"/>
        </pc:sldMkLst>
      </pc:sldChg>
      <pc:sldChg chg="modSp mod">
        <pc:chgData name="Iselin Ekeli Rønningsbakk" userId="187300ae-9cb6-416d-8a94-664ca977a24d" providerId="ADAL" clId="{DE44C537-DB6F-4243-9C35-4B6CAECAAEF1}" dt="2024-07-01T12:36:51.606" v="247" actId="6549"/>
        <pc:sldMkLst>
          <pc:docMk/>
          <pc:sldMk cId="4275014000" sldId="270"/>
        </pc:sldMkLst>
      </pc:sldChg>
    </pc:docChg>
  </pc:docChgLst>
  <pc:docChgLst>
    <pc:chgData name="Iselin Ekeli Rønningsbakk" userId="187300ae-9cb6-416d-8a94-664ca977a24d" providerId="ADAL" clId="{DA2E0AB1-A6F8-4A9F-9EEA-EFCF6E13D508}"/>
    <pc:docChg chg="undo custSel modSld">
      <pc:chgData name="Iselin Ekeli Rønningsbakk" userId="187300ae-9cb6-416d-8a94-664ca977a24d" providerId="ADAL" clId="{DA2E0AB1-A6F8-4A9F-9EEA-EFCF6E13D508}" dt="2025-02-10T10:15:35.840" v="1263" actId="20577"/>
      <pc:docMkLst>
        <pc:docMk/>
      </pc:docMkLst>
    </pc:docChg>
  </pc:docChgLst>
  <pc:docChgLst>
    <pc:chgData name="Lars Tennbakk Bockman" userId="S::lars.bockman@fornybarnorge.no::5a235df0-e381-4c4c-99ce-24b4b21fb9d1" providerId="AD" clId="Web-{0E403DBB-366D-95A5-5D6E-EAE43DF9A04A}"/>
    <pc:docChg chg="modSld">
      <pc:chgData name="Lars Tennbakk Bockman" userId="S::lars.bockman@fornybarnorge.no::5a235df0-e381-4c4c-99ce-24b4b21fb9d1" providerId="AD" clId="Web-{0E403DBB-366D-95A5-5D6E-EAE43DF9A04A}" dt="2025-03-07T14:17:22.883" v="2" actId="20577"/>
      <pc:docMkLst>
        <pc:docMk/>
      </pc:docMkLst>
    </pc:docChg>
  </pc:docChgLst>
  <pc:docChgLst>
    <pc:chgData name="Lars Tennbakk Bockman" userId="5a235df0-e381-4c4c-99ce-24b4b21fb9d1" providerId="ADAL" clId="{2DE39966-EB09-496B-AB1B-8F160E500CA2}"/>
    <pc:docChg chg="undo custSel modSld">
      <pc:chgData name="Lars Tennbakk Bockman" userId="5a235df0-e381-4c4c-99ce-24b4b21fb9d1" providerId="ADAL" clId="{2DE39966-EB09-496B-AB1B-8F160E500CA2}" dt="2024-11-06T10:15:03.185" v="1504" actId="20577"/>
      <pc:docMkLst>
        <pc:docMk/>
      </pc:docMkLst>
      <pc:sldChg chg="modSp">
        <pc:chgData name="Lars Tennbakk Bockman" userId="5a235df0-e381-4c4c-99ce-24b4b21fb9d1" providerId="ADAL" clId="{2DE39966-EB09-496B-AB1B-8F160E500CA2}" dt="2024-11-06T09:53:35.636" v="790" actId="14826"/>
        <pc:sldMkLst>
          <pc:docMk/>
          <pc:sldMk cId="3048309862" sldId="277"/>
        </pc:sldMkLst>
      </pc:sldChg>
    </pc:docChg>
  </pc:docChgLst>
  <pc:docChgLst>
    <pc:chgData name="Iselin Ekeli Rønningsbakk" userId="187300ae-9cb6-416d-8a94-664ca977a24d" providerId="ADAL" clId="{FB0547A2-14E6-4F44-95ED-0401051FE3B4}"/>
    <pc:docChg chg="modSld">
      <pc:chgData name="Iselin Ekeli Rønningsbakk" userId="187300ae-9cb6-416d-8a94-664ca977a24d" providerId="ADAL" clId="{FB0547A2-14E6-4F44-95ED-0401051FE3B4}" dt="2024-12-12T10:04:09.397" v="3" actId="255"/>
      <pc:docMkLst>
        <pc:docMk/>
      </pc:docMkLst>
    </pc:docChg>
  </pc:docChgLst>
  <pc:docChgLst>
    <pc:chgData name="Lars Tennbakk Bockman" userId="5a235df0-e381-4c4c-99ce-24b4b21fb9d1" providerId="ADAL" clId="{67C030E1-BD0F-4D73-AD5D-26A3BAF25637}"/>
    <pc:docChg chg="custSel modSld">
      <pc:chgData name="Lars Tennbakk Bockman" userId="5a235df0-e381-4c4c-99ce-24b4b21fb9d1" providerId="ADAL" clId="{67C030E1-BD0F-4D73-AD5D-26A3BAF25637}" dt="2025-03-07T12:36:27.538" v="211" actId="20577"/>
      <pc:docMkLst>
        <pc:docMk/>
      </pc:docMkLst>
    </pc:docChg>
  </pc:docChgLst>
  <pc:docChgLst>
    <pc:chgData name="Ingeborg Aarø" userId="fe5f74f8-3120-49da-a10f-7c51be1254b1" providerId="ADAL" clId="{3E23246F-6FD0-B24D-8CF4-75D0BC8AB8A9}"/>
    <pc:docChg chg="custSel modSld">
      <pc:chgData name="Ingeborg Aarø" userId="fe5f74f8-3120-49da-a10f-7c51be1254b1" providerId="ADAL" clId="{3E23246F-6FD0-B24D-8CF4-75D0BC8AB8A9}" dt="2024-06-05T11:10:17.415" v="7" actId="14100"/>
      <pc:docMkLst>
        <pc:docMk/>
      </pc:docMkLst>
    </pc:docChg>
  </pc:docChgLst>
  <pc:docChgLst>
    <pc:chgData name="Iselin Ekeli Rønningsbakk" userId="187300ae-9cb6-416d-8a94-664ca977a24d" providerId="ADAL" clId="{616419BA-47B3-418F-AB07-31CDFCDA77EF}"/>
    <pc:docChg chg="custSel modSld">
      <pc:chgData name="Iselin Ekeli Rønningsbakk" userId="187300ae-9cb6-416d-8a94-664ca977a24d" providerId="ADAL" clId="{616419BA-47B3-418F-AB07-31CDFCDA77EF}" dt="2024-08-08T08:55:07.696" v="184" actId="6549"/>
      <pc:docMkLst>
        <pc:docMk/>
      </pc:docMkLst>
    </pc:docChg>
  </pc:docChgLst>
  <pc:docChgLst>
    <pc:chgData name="Lars Tennbakk Bockman" userId="S::lars.bockman@fornybarnorge.no::5a235df0-e381-4c4c-99ce-24b4b21fb9d1" providerId="AD" clId="Web-{EA80F0FD-86BE-F34E-8E62-E82B2CE10331}"/>
    <pc:docChg chg="modSld">
      <pc:chgData name="Lars Tennbakk Bockman" userId="S::lars.bockman@fornybarnorge.no::5a235df0-e381-4c4c-99ce-24b4b21fb9d1" providerId="AD" clId="Web-{EA80F0FD-86BE-F34E-8E62-E82B2CE10331}" dt="2024-04-23T13:08:03.074" v="3" actId="20577"/>
      <pc:docMkLst>
        <pc:docMk/>
      </pc:docMkLst>
    </pc:docChg>
  </pc:docChgLst>
  <pc:docChgLst>
    <pc:chgData name="Lars Tennbakk Bockman" userId="5a235df0-e381-4c4c-99ce-24b4b21fb9d1" providerId="ADAL" clId="{C5A5C764-A305-4B0D-9BEA-1C872162588B}"/>
    <pc:docChg chg="custSel addSld delSld modSld sldOrd">
      <pc:chgData name="Lars Tennbakk Bockman" userId="5a235df0-e381-4c4c-99ce-24b4b21fb9d1" providerId="ADAL" clId="{C5A5C764-A305-4B0D-9BEA-1C872162588B}" dt="2024-06-25T13:17:52.641" v="2007" actId="20577"/>
      <pc:docMkLst>
        <pc:docMk/>
      </pc:docMkLst>
      <pc:sldChg chg="add del ord setBg">
        <pc:chgData name="Lars Tennbakk Bockman" userId="5a235df0-e381-4c4c-99ce-24b4b21fb9d1" providerId="ADAL" clId="{C5A5C764-A305-4B0D-9BEA-1C872162588B}" dt="2024-06-25T13:09:29.698" v="1631" actId="47"/>
        <pc:sldMkLst>
          <pc:docMk/>
          <pc:sldMk cId="1834315246" sldId="278"/>
        </pc:sldMkLst>
      </pc:sldChg>
      <pc:sldChg chg="modSp add mod ord">
        <pc:chgData name="Lars Tennbakk Bockman" userId="5a235df0-e381-4c4c-99ce-24b4b21fb9d1" providerId="ADAL" clId="{C5A5C764-A305-4B0D-9BEA-1C872162588B}" dt="2024-06-25T13:17:52.641" v="2007" actId="20577"/>
        <pc:sldMkLst>
          <pc:docMk/>
          <pc:sldMk cId="4100358197" sldId="278"/>
        </pc:sldMkLst>
      </pc:sldChg>
    </pc:docChg>
  </pc:docChgLst>
  <pc:docChgLst>
    <pc:chgData name="Iselin Ekeli Rønningsbakk" userId="187300ae-9cb6-416d-8a94-664ca977a24d" providerId="ADAL" clId="{083BC471-8958-4C20-99D7-332236085493}"/>
    <pc:docChg chg="modSld">
      <pc:chgData name="Iselin Ekeli Rønningsbakk" userId="187300ae-9cb6-416d-8a94-664ca977a24d" providerId="ADAL" clId="{083BC471-8958-4C20-99D7-332236085493}" dt="2025-03-06T19:46:52.563" v="34" actId="6549"/>
      <pc:docMkLst>
        <pc:docMk/>
      </pc:docMkLst>
    </pc:docChg>
  </pc:docChgLst>
  <pc:docChgLst>
    <pc:chgData name="Iselin Ekeli Rønningsbakk" userId="187300ae-9cb6-416d-8a94-664ca977a24d" providerId="ADAL" clId="{8BC88EEB-960C-4923-AE0E-E6E6F3F4E1BA}"/>
    <pc:docChg chg="undo custSel addSld delSld modSld">
      <pc:chgData name="Iselin Ekeli Rønningsbakk" userId="187300ae-9cb6-416d-8a94-664ca977a24d" providerId="ADAL" clId="{8BC88EEB-960C-4923-AE0E-E6E6F3F4E1BA}" dt="2024-10-03T11:52:06.073" v="559" actId="6549"/>
      <pc:docMkLst>
        <pc:docMk/>
      </pc:docMkLst>
      <pc:sldChg chg="add del setBg">
        <pc:chgData name="Iselin Ekeli Rønningsbakk" userId="187300ae-9cb6-416d-8a94-664ca977a24d" providerId="ADAL" clId="{8BC88EEB-960C-4923-AE0E-E6E6F3F4E1BA}" dt="2024-10-03T11:15:18.081" v="7"/>
        <pc:sldMkLst>
          <pc:docMk/>
          <pc:sldMk cId="1380827816" sldId="262"/>
        </pc:sldMkLst>
      </pc:sldChg>
    </pc:docChg>
  </pc:docChgLst>
  <pc:docChgLst>
    <pc:chgData name="Iselin Ekeli Rønningsbakk" userId="187300ae-9cb6-416d-8a94-664ca977a24d" providerId="ADAL" clId="{004A567D-8204-4070-9423-9BE8B91B43A2}"/>
    <pc:docChg chg="modSld">
      <pc:chgData name="Iselin Ekeli Rønningsbakk" userId="187300ae-9cb6-416d-8a94-664ca977a24d" providerId="ADAL" clId="{004A567D-8204-4070-9423-9BE8B91B43A2}" dt="2025-03-10T11:24:06.346" v="1115" actId="20577"/>
      <pc:docMkLst>
        <pc:docMk/>
      </pc:docMkLst>
    </pc:docChg>
  </pc:docChgLst>
  <pc:docChgLst>
    <pc:chgData name="Iselin Ekeli Rønningsbakk" userId="187300ae-9cb6-416d-8a94-664ca977a24d" providerId="ADAL" clId="{74867ED9-2A23-4D35-8970-EFBC7EB6A6E5}"/>
    <pc:docChg chg="modSld">
      <pc:chgData name="Iselin Ekeli Rønningsbakk" userId="187300ae-9cb6-416d-8a94-664ca977a24d" providerId="ADAL" clId="{74867ED9-2A23-4D35-8970-EFBC7EB6A6E5}" dt="2024-04-09T12:43:52.958" v="9" actId="20577"/>
      <pc:docMkLst>
        <pc:docMk/>
      </pc:docMkLst>
      <pc:sldChg chg="modSp mod">
        <pc:chgData name="Iselin Ekeli Rønningsbakk" userId="187300ae-9cb6-416d-8a94-664ca977a24d" providerId="ADAL" clId="{74867ED9-2A23-4D35-8970-EFBC7EB6A6E5}" dt="2024-04-09T12:43:52.958" v="9" actId="20577"/>
        <pc:sldMkLst>
          <pc:docMk/>
          <pc:sldMk cId="964345901" sldId="269"/>
        </pc:sldMkLst>
      </pc:sldChg>
      <pc:sldChg chg="modSp mod">
        <pc:chgData name="Iselin Ekeli Rønningsbakk" userId="187300ae-9cb6-416d-8a94-664ca977a24d" providerId="ADAL" clId="{74867ED9-2A23-4D35-8970-EFBC7EB6A6E5}" dt="2024-04-09T12:43:43.093" v="4" actId="20577"/>
        <pc:sldMkLst>
          <pc:docMk/>
          <pc:sldMk cId="4275014000" sldId="270"/>
        </pc:sldMkLst>
      </pc:sldChg>
    </pc:docChg>
  </pc:docChgLst>
  <pc:docChgLst>
    <pc:chgData name="Iselin Ekeli Rønningsbakk" userId="187300ae-9cb6-416d-8a94-664ca977a24d" providerId="ADAL" clId="{AC2F6FF7-F6D8-4AFE-B906-DC35355E9A54}"/>
    <pc:docChg chg="modSld">
      <pc:chgData name="Iselin Ekeli Rønningsbakk" userId="187300ae-9cb6-416d-8a94-664ca977a24d" providerId="ADAL" clId="{AC2F6FF7-F6D8-4AFE-B906-DC35355E9A54}" dt="2024-08-05T12:49:30.545" v="1" actId="122"/>
      <pc:docMkLst>
        <pc:docMk/>
      </pc:docMkLst>
      <pc:sldChg chg="modSp mod">
        <pc:chgData name="Iselin Ekeli Rønningsbakk" userId="187300ae-9cb6-416d-8a94-664ca977a24d" providerId="ADAL" clId="{AC2F6FF7-F6D8-4AFE-B906-DC35355E9A54}" dt="2024-08-05T12:49:30.545" v="1" actId="122"/>
        <pc:sldMkLst>
          <pc:docMk/>
          <pc:sldMk cId="362544367" sldId="264"/>
        </pc:sldMkLst>
      </pc:sldChg>
      <pc:sldChg chg="delCm">
        <pc:chgData name="Iselin Ekeli Rønningsbakk" userId="187300ae-9cb6-416d-8a94-664ca977a24d" providerId="ADAL" clId="{AC2F6FF7-F6D8-4AFE-B906-DC35355E9A54}" dt="2024-08-05T12:42:02.450" v="0"/>
        <pc:sldMkLst>
          <pc:docMk/>
          <pc:sldMk cId="4169780862" sldId="274"/>
        </pc:sldMkLst>
        <pc:extLst>
          <p:ext xmlns:p="http://schemas.openxmlformats.org/presentationml/2006/main" uri="{D6D511B9-2390-475A-947B-AFAB55BFBCF1}">
            <pc226:cmChg xmlns:pc226="http://schemas.microsoft.com/office/powerpoint/2022/06/main/command" chg="del">
              <pc226:chgData name="Iselin Ekeli Rønningsbakk" userId="187300ae-9cb6-416d-8a94-664ca977a24d" providerId="ADAL" clId="{AC2F6FF7-F6D8-4AFE-B906-DC35355E9A54}" dt="2024-08-05T12:42:02.450" v="0"/>
              <pc2:cmMkLst xmlns:pc2="http://schemas.microsoft.com/office/powerpoint/2019/9/main/command">
                <pc:docMk/>
                <pc:sldMk cId="4169780862" sldId="274"/>
                <pc2:cmMk id="{2E9BC3A8-1C3E-41AF-825C-594DD1DF5CC5}"/>
              </pc2:cmMkLst>
            </pc226:cmChg>
          </p:ext>
        </pc:extLst>
      </pc:sldChg>
    </pc:docChg>
  </pc:docChgLst>
  <pc:docChgLst>
    <pc:chgData name="Iselin Ekeli Rønningsbakk" userId="187300ae-9cb6-416d-8a94-664ca977a24d" providerId="ADAL" clId="{00BA57EB-2D70-4805-ADC1-5A9049218C5B}"/>
    <pc:docChg chg="undo custSel modSld">
      <pc:chgData name="Iselin Ekeli Rønningsbakk" userId="187300ae-9cb6-416d-8a94-664ca977a24d" providerId="ADAL" clId="{00BA57EB-2D70-4805-ADC1-5A9049218C5B}" dt="2024-09-12T13:27:21.131" v="67" actId="6549"/>
      <pc:docMkLst>
        <pc:docMk/>
      </pc:docMkLst>
      <pc:sldChg chg="modSp mod modCm">
        <pc:chgData name="Iselin Ekeli Rønningsbakk" userId="187300ae-9cb6-416d-8a94-664ca977a24d" providerId="ADAL" clId="{00BA57EB-2D70-4805-ADC1-5A9049218C5B}" dt="2024-09-12T13:27:21.131" v="67" actId="6549"/>
        <pc:sldMkLst>
          <pc:docMk/>
          <pc:sldMk cId="3809428704" sldId="268"/>
        </pc:sldMkLst>
        <pc:extLst>
          <p:ext xmlns:p="http://schemas.openxmlformats.org/presentationml/2006/main" uri="{D6D511B9-2390-475A-947B-AFAB55BFBCF1}">
            <pc226:cmChg xmlns:pc226="http://schemas.microsoft.com/office/powerpoint/2022/06/main/command" chg="mod">
              <pc226:chgData name="Iselin Ekeli Rønningsbakk" userId="187300ae-9cb6-416d-8a94-664ca977a24d" providerId="ADAL" clId="{00BA57EB-2D70-4805-ADC1-5A9049218C5B}" dt="2024-09-12T13:26:48.860" v="26" actId="6549"/>
              <pc2:cmMkLst xmlns:pc2="http://schemas.microsoft.com/office/powerpoint/2019/9/main/command">
                <pc:docMk/>
                <pc:sldMk cId="3809428704" sldId="268"/>
                <pc2:cmMk id="{1B14C4AE-585E-44BD-92D7-68A814F4B6F7}"/>
              </pc2:cmMkLst>
            </pc226:cmChg>
            <pc226:cmChg xmlns:pc226="http://schemas.microsoft.com/office/powerpoint/2022/06/main/command" chg="mod">
              <pc226:chgData name="Iselin Ekeli Rønningsbakk" userId="187300ae-9cb6-416d-8a94-664ca977a24d" providerId="ADAL" clId="{00BA57EB-2D70-4805-ADC1-5A9049218C5B}" dt="2024-09-12T13:27:21.131" v="67" actId="6549"/>
              <pc2:cmMkLst xmlns:pc2="http://schemas.microsoft.com/office/powerpoint/2019/9/main/command">
                <pc:docMk/>
                <pc:sldMk cId="3809428704" sldId="268"/>
                <pc2:cmMk id="{F890DFE2-AA7F-4193-A6A0-323CEF6A01C0}"/>
              </pc2:cmMkLst>
            </pc226:cmChg>
          </p:ext>
        </pc:extLst>
      </pc:sldChg>
      <pc:sldChg chg="modSp mod">
        <pc:chgData name="Iselin Ekeli Rønningsbakk" userId="187300ae-9cb6-416d-8a94-664ca977a24d" providerId="ADAL" clId="{00BA57EB-2D70-4805-ADC1-5A9049218C5B}" dt="2024-09-12T11:52:15.308" v="1" actId="1076"/>
        <pc:sldMkLst>
          <pc:docMk/>
          <pc:sldMk cId="1400664593" sldId="275"/>
        </pc:sldMkLst>
      </pc:sldChg>
    </pc:docChg>
  </pc:docChgLst>
  <pc:docChgLst>
    <pc:chgData clId="Web-{7492D111-7293-4795-8678-B3671B4EF338}"/>
    <pc:docChg chg="">
      <pc:chgData name="" userId="" providerId="" clId="Web-{7492D111-7293-4795-8678-B3671B4EF338}" dt="2024-04-11T13:36:34.845" v="0"/>
      <pc:docMkLst>
        <pc:docMk/>
      </pc:docMkLst>
    </pc:docChg>
  </pc:docChgLst>
  <pc:docChgLst>
    <pc:chgData name="Iselin Ekeli Rønningsbakk" userId="187300ae-9cb6-416d-8a94-664ca977a24d" providerId="ADAL" clId="{B4E5B0F8-0B27-4C7F-AC1B-93663567327F}"/>
    <pc:docChg chg="modSld">
      <pc:chgData name="Iselin Ekeli Rønningsbakk" userId="187300ae-9cb6-416d-8a94-664ca977a24d" providerId="ADAL" clId="{B4E5B0F8-0B27-4C7F-AC1B-93663567327F}" dt="2024-04-12T09:21:55.420" v="1301"/>
      <pc:docMkLst>
        <pc:docMk/>
      </pc:docMkLst>
      <pc:sldChg chg="modSp mod modCm">
        <pc:chgData name="Iselin Ekeli Rønningsbakk" userId="187300ae-9cb6-416d-8a94-664ca977a24d" providerId="ADAL" clId="{B4E5B0F8-0B27-4C7F-AC1B-93663567327F}" dt="2024-04-12T09:18:23.655" v="1124" actId="14100"/>
        <pc:sldMkLst>
          <pc:docMk/>
          <pc:sldMk cId="964345901" sldId="269"/>
        </pc:sldMkLst>
        <pc:extLst>
          <p:ext xmlns:p="http://schemas.openxmlformats.org/presentationml/2006/main" uri="{D6D511B9-2390-475A-947B-AFAB55BFBCF1}">
            <pc226:cmChg xmlns:pc226="http://schemas.microsoft.com/office/powerpoint/2022/06/main/command" chg="mod">
              <pc226:chgData name="Iselin Ekeli Rønningsbakk" userId="187300ae-9cb6-416d-8a94-664ca977a24d" providerId="ADAL" clId="{B4E5B0F8-0B27-4C7F-AC1B-93663567327F}" dt="2024-04-12T09:18:13.939" v="1123" actId="6549"/>
              <pc2:cmMkLst xmlns:pc2="http://schemas.microsoft.com/office/powerpoint/2019/9/main/command">
                <pc:docMk/>
                <pc:sldMk cId="964345901" sldId="269"/>
                <pc2:cmMk id="{9A5C4123-9DEB-4AB8-94A5-0C33A2F94B75}"/>
              </pc2:cmMkLst>
            </pc226:cmChg>
          </p:ext>
        </pc:extLst>
      </pc:sldChg>
      <pc:sldChg chg="modSp mod">
        <pc:chgData name="Iselin Ekeli Rønningsbakk" userId="187300ae-9cb6-416d-8a94-664ca977a24d" providerId="ADAL" clId="{B4E5B0F8-0B27-4C7F-AC1B-93663567327F}" dt="2024-04-12T09:21:09.545" v="1287" actId="20577"/>
        <pc:sldMkLst>
          <pc:docMk/>
          <pc:sldMk cId="4275014000" sldId="270"/>
        </pc:sldMkLst>
      </pc:sldChg>
    </pc:docChg>
  </pc:docChgLst>
  <pc:docChgLst>
    <pc:chgData name="Iselin Ekeli Rønningsbakk" userId="187300ae-9cb6-416d-8a94-664ca977a24d" providerId="ADAL" clId="{B9C38528-3DDD-4A97-9899-C95AD467A32F}"/>
    <pc:docChg chg="modSld">
      <pc:chgData name="Iselin Ekeli Rønningsbakk" userId="187300ae-9cb6-416d-8a94-664ca977a24d" providerId="ADAL" clId="{B9C38528-3DDD-4A97-9899-C95AD467A32F}" dt="2025-01-10T12:53:07.462" v="97" actId="20577"/>
      <pc:docMkLst>
        <pc:docMk/>
      </pc:docMkLst>
      <pc:sldChg chg="modSp mod modCm">
        <pc:chgData name="Iselin Ekeli Rønningsbakk" userId="187300ae-9cb6-416d-8a94-664ca977a24d" providerId="ADAL" clId="{B9C38528-3DDD-4A97-9899-C95AD467A32F}" dt="2025-01-10T12:41:20.006" v="3" actId="255"/>
        <pc:sldMkLst>
          <pc:docMk/>
          <pc:sldMk cId="3149972175" sldId="261"/>
        </pc:sldMkLst>
        <pc:spChg chg="mod">
          <ac:chgData name="Iselin Ekeli Rønningsbakk" userId="187300ae-9cb6-416d-8a94-664ca977a24d" providerId="ADAL" clId="{B9C38528-3DDD-4A97-9899-C95AD467A32F}" dt="2025-01-10T12:41:20.006" v="3" actId="255"/>
          <ac:spMkLst>
            <pc:docMk/>
            <pc:sldMk cId="3149972175" sldId="261"/>
            <ac:spMk id="15" creationId="{71CD328A-FCBF-98DB-A3A2-36A13A7E9980}"/>
          </ac:spMkLst>
        </pc:spChg>
        <pc:extLst>
          <p:ext xmlns:p="http://schemas.openxmlformats.org/presentationml/2006/main" uri="{D6D511B9-2390-475A-947B-AFAB55BFBCF1}">
            <pc226:cmChg xmlns:pc226="http://schemas.microsoft.com/office/powerpoint/2022/06/main/command" chg="mod">
              <pc226:chgData name="Iselin Ekeli Rønningsbakk" userId="187300ae-9cb6-416d-8a94-664ca977a24d" providerId="ADAL" clId="{B9C38528-3DDD-4A97-9899-C95AD467A32F}" dt="2025-01-10T12:41:06.757" v="2" actId="20577"/>
              <pc2:cmMkLst xmlns:pc2="http://schemas.microsoft.com/office/powerpoint/2019/9/main/command">
                <pc:docMk/>
                <pc:sldMk cId="3149972175" sldId="261"/>
                <pc2:cmMk id="{27C071CA-5861-4B05-BCB8-45656CDD9806}"/>
              </pc2:cmMkLst>
            </pc226:cmChg>
          </p:ext>
        </pc:extLst>
      </pc:sldChg>
      <pc:sldChg chg="modSp mod">
        <pc:chgData name="Iselin Ekeli Rønningsbakk" userId="187300ae-9cb6-416d-8a94-664ca977a24d" providerId="ADAL" clId="{B9C38528-3DDD-4A97-9899-C95AD467A32F}" dt="2025-01-10T12:50:41.653" v="59" actId="20577"/>
        <pc:sldMkLst>
          <pc:docMk/>
          <pc:sldMk cId="3809428704" sldId="268"/>
        </pc:sldMkLst>
        <pc:spChg chg="mod">
          <ac:chgData name="Iselin Ekeli Rønningsbakk" userId="187300ae-9cb6-416d-8a94-664ca977a24d" providerId="ADAL" clId="{B9C38528-3DDD-4A97-9899-C95AD467A32F}" dt="2025-01-10T12:50:41.653" v="59" actId="20577"/>
          <ac:spMkLst>
            <pc:docMk/>
            <pc:sldMk cId="3809428704" sldId="268"/>
            <ac:spMk id="2" creationId="{E225F7EA-99E6-543D-3D1D-6EACC2C8D6E1}"/>
          </ac:spMkLst>
        </pc:spChg>
        <pc:spChg chg="mod">
          <ac:chgData name="Iselin Ekeli Rønningsbakk" userId="187300ae-9cb6-416d-8a94-664ca977a24d" providerId="ADAL" clId="{B9C38528-3DDD-4A97-9899-C95AD467A32F}" dt="2025-01-10T12:49:58.342" v="10" actId="6549"/>
          <ac:spMkLst>
            <pc:docMk/>
            <pc:sldMk cId="3809428704" sldId="268"/>
            <ac:spMk id="3" creationId="{8A3EFEB1-D7F7-A46E-7DED-AE462CEAB1A0}"/>
          </ac:spMkLst>
        </pc:spChg>
      </pc:sldChg>
      <pc:sldChg chg="modSp mod">
        <pc:chgData name="Iselin Ekeli Rønningsbakk" userId="187300ae-9cb6-416d-8a94-664ca977a24d" providerId="ADAL" clId="{B9C38528-3DDD-4A97-9899-C95AD467A32F}" dt="2025-01-10T12:53:07.462" v="97" actId="20577"/>
        <pc:sldMkLst>
          <pc:docMk/>
          <pc:sldMk cId="575956772" sldId="279"/>
        </pc:sldMkLst>
      </pc:sldChg>
      <pc:sldChg chg="modSp mod">
        <pc:chgData name="Iselin Ekeli Rønningsbakk" userId="187300ae-9cb6-416d-8a94-664ca977a24d" providerId="ADAL" clId="{B9C38528-3DDD-4A97-9899-C95AD467A32F}" dt="2025-01-10T12:51:38.685" v="65" actId="20577"/>
        <pc:sldMkLst>
          <pc:docMk/>
          <pc:sldMk cId="169717518" sldId="282"/>
        </pc:sldMkLst>
      </pc:sldChg>
    </pc:docChg>
  </pc:docChgLst>
  <pc:docChgLst>
    <pc:chgData name="Lars Tennbakk Bockman" userId="S::lars.bockman@fornybarnorge.no::5a235df0-e381-4c4c-99ce-24b4b21fb9d1" providerId="AD" clId="Web-{5276EAF6-521B-72E1-7647-18914D53792E}"/>
    <pc:docChg chg="modSld">
      <pc:chgData name="Lars Tennbakk Bockman" userId="S::lars.bockman@fornybarnorge.no::5a235df0-e381-4c4c-99ce-24b4b21fb9d1" providerId="AD" clId="Web-{5276EAF6-521B-72E1-7647-18914D53792E}" dt="2025-02-10T10:22:43.732" v="21"/>
      <pc:docMkLst>
        <pc:docMk/>
      </pc:docMkLst>
    </pc:docChg>
  </pc:docChgLst>
  <pc:docChgLst>
    <pc:chgData name="Iselin Ekeli Rønningsbakk" userId="187300ae-9cb6-416d-8a94-664ca977a24d" providerId="ADAL" clId="{F135FA9E-2E87-4771-A6E7-FFFD185073E8}"/>
    <pc:docChg chg="modSld">
      <pc:chgData name="Iselin Ekeli Rønningsbakk" userId="187300ae-9cb6-416d-8a94-664ca977a24d" providerId="ADAL" clId="{F135FA9E-2E87-4771-A6E7-FFFD185073E8}" dt="2024-07-04T10:42:29.485" v="9" actId="6549"/>
      <pc:docMkLst>
        <pc:docMk/>
      </pc:docMkLst>
    </pc:docChg>
  </pc:docChgLst>
  <pc:docChgLst>
    <pc:chgData name="Iselin Ekeli Rønningsbakk" userId="187300ae-9cb6-416d-8a94-664ca977a24d" providerId="ADAL" clId="{9B70D854-A452-4942-8D56-AD61F5B81B85}"/>
    <pc:docChg chg="modSld">
      <pc:chgData name="Iselin Ekeli Rønningsbakk" userId="187300ae-9cb6-416d-8a94-664ca977a24d" providerId="ADAL" clId="{9B70D854-A452-4942-8D56-AD61F5B81B85}" dt="2024-04-11T12:51:18.637" v="644" actId="6549"/>
      <pc:docMkLst>
        <pc:docMk/>
      </pc:docMkLst>
    </pc:docChg>
  </pc:docChgLst>
  <pc:docChgLst>
    <pc:chgData name="Iselin Ekeli Rønningsbakk" userId="187300ae-9cb6-416d-8a94-664ca977a24d" providerId="ADAL" clId="{FC2C66DF-9F43-42D1-8AD8-73BE9361540A}"/>
    <pc:docChg chg="custSel modSld">
      <pc:chgData name="Iselin Ekeli Rønningsbakk" userId="187300ae-9cb6-416d-8a94-664ca977a24d" providerId="ADAL" clId="{FC2C66DF-9F43-42D1-8AD8-73BE9361540A}" dt="2025-02-07T14:26:47.593" v="4743" actId="6549"/>
      <pc:docMkLst>
        <pc:docMk/>
      </pc:docMkLst>
    </pc:docChg>
  </pc:docChgLst>
  <pc:docChgLst>
    <pc:chgData name="Iselin Ekeli Rønningsbakk" userId="187300ae-9cb6-416d-8a94-664ca977a24d" providerId="ADAL" clId="{76BCABE4-86E4-4277-BE13-1E69073FECE9}"/>
    <pc:docChg chg="modSld">
      <pc:chgData name="Iselin Ekeli Rønningsbakk" userId="187300ae-9cb6-416d-8a94-664ca977a24d" providerId="ADAL" clId="{76BCABE4-86E4-4277-BE13-1E69073FECE9}" dt="2024-07-03T10:18:12.052" v="1008" actId="6549"/>
      <pc:docMkLst>
        <pc:docMk/>
      </pc:docMkLst>
      <pc:sldChg chg="modSp mod">
        <pc:chgData name="Iselin Ekeli Rønningsbakk" userId="187300ae-9cb6-416d-8a94-664ca977a24d" providerId="ADAL" clId="{76BCABE4-86E4-4277-BE13-1E69073FECE9}" dt="2024-07-03T08:43:21.612" v="36" actId="20577"/>
        <pc:sldMkLst>
          <pc:docMk/>
          <pc:sldMk cId="3149972175" sldId="261"/>
        </pc:sldMkLst>
      </pc:sldChg>
      <pc:sldChg chg="modSp mod">
        <pc:chgData name="Iselin Ekeli Rønningsbakk" userId="187300ae-9cb6-416d-8a94-664ca977a24d" providerId="ADAL" clId="{76BCABE4-86E4-4277-BE13-1E69073FECE9}" dt="2024-07-03T10:18:12.052" v="1008" actId="6549"/>
        <pc:sldMkLst>
          <pc:docMk/>
          <pc:sldMk cId="964345901" sldId="269"/>
        </pc:sldMkLst>
      </pc:sldChg>
    </pc:docChg>
  </pc:docChgLst>
  <pc:docChgLst>
    <pc:chgData name="Iselin Ekeli Rønningsbakk" userId="187300ae-9cb6-416d-8a94-664ca977a24d" providerId="ADAL" clId="{A46BBB59-7C80-47B4-BA79-54295B3E99B8}"/>
    <pc:docChg chg="undo custSel modSld">
      <pc:chgData name="Iselin Ekeli Rønningsbakk" userId="187300ae-9cb6-416d-8a94-664ca977a24d" providerId="ADAL" clId="{A46BBB59-7C80-47B4-BA79-54295B3E99B8}" dt="2024-07-05T07:19:06.314" v="9"/>
      <pc:docMkLst>
        <pc:docMk/>
      </pc:docMkLst>
      <pc:sldChg chg="modSp mod delCm">
        <pc:chgData name="Iselin Ekeli Rønningsbakk" userId="187300ae-9cb6-416d-8a94-664ca977a24d" providerId="ADAL" clId="{A46BBB59-7C80-47B4-BA79-54295B3E99B8}" dt="2024-07-05T07:19:06.314" v="9"/>
        <pc:sldMkLst>
          <pc:docMk/>
          <pc:sldMk cId="1400664593" sldId="275"/>
        </pc:sldMkLst>
        <pc:extLst>
          <p:ext xmlns:p="http://schemas.openxmlformats.org/presentationml/2006/main" uri="{D6D511B9-2390-475A-947B-AFAB55BFBCF1}">
            <pc226:cmChg xmlns:pc226="http://schemas.microsoft.com/office/powerpoint/2022/06/main/command" chg="del">
              <pc226:chgData name="Iselin Ekeli Rønningsbakk" userId="187300ae-9cb6-416d-8a94-664ca977a24d" providerId="ADAL" clId="{A46BBB59-7C80-47B4-BA79-54295B3E99B8}" dt="2024-07-05T07:19:06.314" v="9"/>
              <pc2:cmMkLst xmlns:pc2="http://schemas.microsoft.com/office/powerpoint/2019/9/main/command">
                <pc:docMk/>
                <pc:sldMk cId="1400664593" sldId="275"/>
                <pc2:cmMk id="{1185CF8E-90FD-444C-A1EF-F4250FF46D68}"/>
              </pc2:cmMkLst>
            </pc226:cmChg>
          </p:ext>
        </pc:extLst>
      </pc:sldChg>
    </pc:docChg>
  </pc:docChgLst>
  <pc:docChgLst>
    <pc:chgData name="Iselin Ekeli Rønningsbakk" userId="187300ae-9cb6-416d-8a94-664ca977a24d" providerId="ADAL" clId="{05C25B39-15F9-47C4-AD71-0AD5EAAC2147}"/>
    <pc:docChg chg="modSld">
      <pc:chgData name="Iselin Ekeli Rønningsbakk" userId="187300ae-9cb6-416d-8a94-664ca977a24d" providerId="ADAL" clId="{05C25B39-15F9-47C4-AD71-0AD5EAAC2147}" dt="2025-03-11T08:14:15.558" v="722" actId="1076"/>
      <pc:docMkLst>
        <pc:docMk/>
      </pc:docMkLst>
      <pc:sldChg chg="modSp mod">
        <pc:chgData name="Iselin Ekeli Rønningsbakk" userId="187300ae-9cb6-416d-8a94-664ca977a24d" providerId="ADAL" clId="{05C25B39-15F9-47C4-AD71-0AD5EAAC2147}" dt="2025-03-11T08:14:15.558" v="722" actId="1076"/>
        <pc:sldMkLst>
          <pc:docMk/>
          <pc:sldMk cId="3149972175" sldId="261"/>
        </pc:sldMkLst>
        <pc:spChg chg="mod">
          <ac:chgData name="Iselin Ekeli Rønningsbakk" userId="187300ae-9cb6-416d-8a94-664ca977a24d" providerId="ADAL" clId="{05C25B39-15F9-47C4-AD71-0AD5EAAC2147}" dt="2025-03-11T08:14:13.474" v="721" actId="1076"/>
          <ac:spMkLst>
            <pc:docMk/>
            <pc:sldMk cId="3149972175" sldId="261"/>
            <ac:spMk id="2" creationId="{EB808BFC-B71A-C9E5-5827-2A0376474563}"/>
          </ac:spMkLst>
        </pc:spChg>
        <pc:spChg chg="mod">
          <ac:chgData name="Iselin Ekeli Rønningsbakk" userId="187300ae-9cb6-416d-8a94-664ca977a24d" providerId="ADAL" clId="{05C25B39-15F9-47C4-AD71-0AD5EAAC2147}" dt="2025-03-11T08:14:15.558" v="722" actId="1076"/>
          <ac:spMkLst>
            <pc:docMk/>
            <pc:sldMk cId="3149972175" sldId="261"/>
            <ac:spMk id="15" creationId="{71CD328A-FCBF-98DB-A3A2-36A13A7E9980}"/>
          </ac:spMkLst>
        </pc:spChg>
      </pc:sldChg>
      <pc:sldChg chg="modSp mod">
        <pc:chgData name="Iselin Ekeli Rønningsbakk" userId="187300ae-9cb6-416d-8a94-664ca977a24d" providerId="ADAL" clId="{05C25B39-15F9-47C4-AD71-0AD5EAAC2147}" dt="2025-03-11T08:12:17.444" v="483" actId="6549"/>
        <pc:sldMkLst>
          <pc:docMk/>
          <pc:sldMk cId="3809428704" sldId="268"/>
        </pc:sldMkLst>
        <pc:spChg chg="mod">
          <ac:chgData name="Iselin Ekeli Rønningsbakk" userId="187300ae-9cb6-416d-8a94-664ca977a24d" providerId="ADAL" clId="{05C25B39-15F9-47C4-AD71-0AD5EAAC2147}" dt="2025-03-11T08:12:17.444" v="483" actId="6549"/>
          <ac:spMkLst>
            <pc:docMk/>
            <pc:sldMk cId="3809428704" sldId="268"/>
            <ac:spMk id="2" creationId="{E225F7EA-99E6-543D-3D1D-6EACC2C8D6E1}"/>
          </ac:spMkLst>
        </pc:spChg>
      </pc:sldChg>
    </pc:docChg>
  </pc:docChgLst>
  <pc:docChgLst>
    <pc:chgData name="Lars Tennbakk Bockman" userId="5a235df0-e381-4c4c-99ce-24b4b21fb9d1" providerId="ADAL" clId="{A4077F93-E2AB-46E2-80E5-72704175BD0D}"/>
    <pc:docChg chg="undo custSel modSld replTag">
      <pc:chgData name="Lars Tennbakk Bockman" userId="5a235df0-e381-4c4c-99ce-24b4b21fb9d1" providerId="ADAL" clId="{A4077F93-E2AB-46E2-80E5-72704175BD0D}" dt="2024-04-24T08:36:36.047" v="2479"/>
      <pc:docMkLst>
        <pc:docMk/>
      </pc:docMkLst>
    </pc:docChg>
  </pc:docChgLst>
  <pc:docChgLst>
    <pc:chgData name="Lars Tennbakk Bockman" userId="5a235df0-e381-4c4c-99ce-24b4b21fb9d1" providerId="ADAL" clId="{FC896D71-30DB-4AEA-A103-A1535D2C5492}"/>
    <pc:docChg chg="undo custSel addSld delSld modSld sldOrd">
      <pc:chgData name="Lars Tennbakk Bockman" userId="5a235df0-e381-4c4c-99ce-24b4b21fb9d1" providerId="ADAL" clId="{FC896D71-30DB-4AEA-A103-A1535D2C5492}" dt="2025-01-08T12:25:22.054" v="6450" actId="20577"/>
      <pc:docMkLst>
        <pc:docMk/>
      </pc:docMkLst>
      <pc:sldChg chg="addSp delSp modSp mod">
        <pc:chgData name="Lars Tennbakk Bockman" userId="5a235df0-e381-4c4c-99ce-24b4b21fb9d1" providerId="ADAL" clId="{FC896D71-30DB-4AEA-A103-A1535D2C5492}" dt="2025-01-06T11:24:57.707" v="6116" actId="113"/>
        <pc:sldMkLst>
          <pc:docMk/>
          <pc:sldMk cId="362544367" sldId="264"/>
        </pc:sldMkLst>
        <pc:spChg chg="mod">
          <ac:chgData name="Lars Tennbakk Bockman" userId="5a235df0-e381-4c4c-99ce-24b4b21fb9d1" providerId="ADAL" clId="{FC896D71-30DB-4AEA-A103-A1535D2C5492}" dt="2025-01-06T11:24:18.939" v="6103" actId="1076"/>
          <ac:spMkLst>
            <pc:docMk/>
            <pc:sldMk cId="362544367" sldId="264"/>
            <ac:spMk id="4" creationId="{113A1B97-60AB-A82D-7695-603B4FDE308B}"/>
          </ac:spMkLst>
        </pc:spChg>
        <pc:spChg chg="mod">
          <ac:chgData name="Lars Tennbakk Bockman" userId="5a235df0-e381-4c4c-99ce-24b4b21fb9d1" providerId="ADAL" clId="{FC896D71-30DB-4AEA-A103-A1535D2C5492}" dt="2025-01-06T11:24:16.723" v="6102" actId="1076"/>
          <ac:spMkLst>
            <pc:docMk/>
            <pc:sldMk cId="362544367" sldId="264"/>
            <ac:spMk id="27" creationId="{1D503F1E-631A-06BB-9FA6-AB5D4E68E9D8}"/>
          </ac:spMkLst>
        </pc:spChg>
      </pc:sldChg>
      <pc:sldChg chg="modSp mod modCm">
        <pc:chgData name="Lars Tennbakk Bockman" userId="5a235df0-e381-4c4c-99ce-24b4b21fb9d1" providerId="ADAL" clId="{FC896D71-30DB-4AEA-A103-A1535D2C5492}" dt="2025-01-06T09:28:57.340" v="6030" actId="20577"/>
        <pc:sldMkLst>
          <pc:docMk/>
          <pc:sldMk cId="3809428704" sldId="268"/>
        </pc:sldMkLst>
        <pc:spChg chg="mod">
          <ac:chgData name="Lars Tennbakk Bockman" userId="5a235df0-e381-4c4c-99ce-24b4b21fb9d1" providerId="ADAL" clId="{FC896D71-30DB-4AEA-A103-A1535D2C5492}" dt="2025-01-03T08:58:34.424" v="4956" actId="20577"/>
          <ac:spMkLst>
            <pc:docMk/>
            <pc:sldMk cId="3809428704" sldId="268"/>
            <ac:spMk id="2" creationId="{E225F7EA-99E6-543D-3D1D-6EACC2C8D6E1}"/>
          </ac:spMkLst>
        </pc:spChg>
        <pc:spChg chg="mod">
          <ac:chgData name="Lars Tennbakk Bockman" userId="5a235df0-e381-4c4c-99ce-24b4b21fb9d1" providerId="ADAL" clId="{FC896D71-30DB-4AEA-A103-A1535D2C5492}" dt="2025-01-06T09:28:57.340" v="6030" actId="20577"/>
          <ac:spMkLst>
            <pc:docMk/>
            <pc:sldMk cId="3809428704" sldId="268"/>
            <ac:spMk id="3" creationId="{8A3EFEB1-D7F7-A46E-7DED-AE462CEAB1A0}"/>
          </ac:spMkLst>
        </pc:spChg>
        <pc:spChg chg="mod">
          <ac:chgData name="Lars Tennbakk Bockman" userId="5a235df0-e381-4c4c-99ce-24b4b21fb9d1" providerId="ADAL" clId="{FC896D71-30DB-4AEA-A103-A1535D2C5492}" dt="2025-01-02T15:01:16.525" v="3697" actId="20577"/>
          <ac:spMkLst>
            <pc:docMk/>
            <pc:sldMk cId="3809428704" sldId="268"/>
            <ac:spMk id="27" creationId="{D4479EF9-3012-3964-A9D0-6C16A3C05105}"/>
          </ac:spMkLst>
        </pc:spChg>
        <pc:extLst>
          <p:ext xmlns:p="http://schemas.openxmlformats.org/presentationml/2006/main" uri="{D6D511B9-2390-475A-947B-AFAB55BFBCF1}">
            <pc226:cmChg xmlns:pc226="http://schemas.microsoft.com/office/powerpoint/2022/06/main/command" chg="mod">
              <pc226:chgData name="Lars Tennbakk Bockman" userId="5a235df0-e381-4c4c-99ce-24b4b21fb9d1" providerId="ADAL" clId="{FC896D71-30DB-4AEA-A103-A1535D2C5492}" dt="2025-01-06T09:28:43.645" v="6002" actId="20577"/>
              <pc2:cmMkLst xmlns:pc2="http://schemas.microsoft.com/office/powerpoint/2019/9/main/command">
                <pc:docMk/>
                <pc:sldMk cId="3809428704" sldId="268"/>
                <pc2:cmMk id="{BD285216-2692-4772-BDA0-82CB6E972524}"/>
              </pc2:cmMkLst>
            </pc226:cmChg>
          </p:ext>
        </pc:extLst>
      </pc:sldChg>
      <pc:sldChg chg="modSp mod">
        <pc:chgData name="Lars Tennbakk Bockman" userId="5a235df0-e381-4c4c-99ce-24b4b21fb9d1" providerId="ADAL" clId="{FC896D71-30DB-4AEA-A103-A1535D2C5492}" dt="2025-01-06T14:39:11.436" v="6372" actId="14826"/>
        <pc:sldMkLst>
          <pc:docMk/>
          <pc:sldMk cId="964345901" sldId="269"/>
        </pc:sldMkLst>
        <pc:spChg chg="mod">
          <ac:chgData name="Lars Tennbakk Bockman" userId="5a235df0-e381-4c4c-99ce-24b4b21fb9d1" providerId="ADAL" clId="{FC896D71-30DB-4AEA-A103-A1535D2C5492}" dt="2025-01-02T12:26:32.795" v="340" actId="20577"/>
          <ac:spMkLst>
            <pc:docMk/>
            <pc:sldMk cId="964345901" sldId="269"/>
            <ac:spMk id="6" creationId="{98A31114-AE4A-2C3A-5034-C60474D62470}"/>
          </ac:spMkLst>
        </pc:spChg>
        <pc:spChg chg="mod">
          <ac:chgData name="Lars Tennbakk Bockman" userId="5a235df0-e381-4c4c-99ce-24b4b21fb9d1" providerId="ADAL" clId="{FC896D71-30DB-4AEA-A103-A1535D2C5492}" dt="2025-01-02T12:21:47.205" v="32" actId="20577"/>
          <ac:spMkLst>
            <pc:docMk/>
            <pc:sldMk cId="964345901" sldId="269"/>
            <ac:spMk id="11" creationId="{C9D230B1-551A-0E7A-96AB-ADE59A906758}"/>
          </ac:spMkLst>
        </pc:spChg>
        <pc:spChg chg="mod">
          <ac:chgData name="Lars Tennbakk Bockman" userId="5a235df0-e381-4c4c-99ce-24b4b21fb9d1" providerId="ADAL" clId="{FC896D71-30DB-4AEA-A103-A1535D2C5492}" dt="2025-01-02T12:25:09.635" v="129" actId="20577"/>
          <ac:spMkLst>
            <pc:docMk/>
            <pc:sldMk cId="964345901" sldId="269"/>
            <ac:spMk id="15" creationId="{04DCDA78-71F1-811A-A7B3-AF6C80100E58}"/>
          </ac:spMkLst>
        </pc:spChg>
        <pc:picChg chg="mod">
          <ac:chgData name="Lars Tennbakk Bockman" userId="5a235df0-e381-4c4c-99ce-24b4b21fb9d1" providerId="ADAL" clId="{FC896D71-30DB-4AEA-A103-A1535D2C5492}" dt="2025-01-02T12:22:06.266" v="35" actId="1076"/>
          <ac:picMkLst>
            <pc:docMk/>
            <pc:sldMk cId="964345901" sldId="269"/>
            <ac:picMk id="4" creationId="{F1209CBB-C9AB-BA6E-3FAE-5B8063D6E61B}"/>
          </ac:picMkLst>
        </pc:picChg>
        <pc:picChg chg="mod">
          <ac:chgData name="Lars Tennbakk Bockman" userId="5a235df0-e381-4c4c-99ce-24b4b21fb9d1" providerId="ADAL" clId="{FC896D71-30DB-4AEA-A103-A1535D2C5492}" dt="2025-01-06T14:39:11.436" v="6372" actId="14826"/>
          <ac:picMkLst>
            <pc:docMk/>
            <pc:sldMk cId="964345901" sldId="269"/>
            <ac:picMk id="9" creationId="{D21B8C53-AA53-A852-4492-9BA4D601B04E}"/>
          </ac:picMkLst>
        </pc:picChg>
        <pc:picChg chg="mod">
          <ac:chgData name="Lars Tennbakk Bockman" userId="5a235df0-e381-4c4c-99ce-24b4b21fb9d1" providerId="ADAL" clId="{FC896D71-30DB-4AEA-A103-A1535D2C5492}" dt="2025-01-02T12:22:02.370" v="34" actId="1076"/>
          <ac:picMkLst>
            <pc:docMk/>
            <pc:sldMk cId="964345901" sldId="269"/>
            <ac:picMk id="10" creationId="{D388F67E-CBD0-6D61-3BE3-4DCD8FC2400A}"/>
          </ac:picMkLst>
        </pc:picChg>
      </pc:sldChg>
      <pc:sldChg chg="modSp mod">
        <pc:chgData name="Lars Tennbakk Bockman" userId="5a235df0-e381-4c4c-99ce-24b4b21fb9d1" providerId="ADAL" clId="{FC896D71-30DB-4AEA-A103-A1535D2C5492}" dt="2025-01-08T12:09:10.116" v="6382" actId="20577"/>
        <pc:sldMkLst>
          <pc:docMk/>
          <pc:sldMk cId="4275014000" sldId="270"/>
        </pc:sldMkLst>
        <pc:spChg chg="mod">
          <ac:chgData name="Lars Tennbakk Bockman" userId="5a235df0-e381-4c4c-99ce-24b4b21fb9d1" providerId="ADAL" clId="{FC896D71-30DB-4AEA-A103-A1535D2C5492}" dt="2025-01-02T12:26:27.369" v="324" actId="20577"/>
          <ac:spMkLst>
            <pc:docMk/>
            <pc:sldMk cId="4275014000" sldId="270"/>
            <ac:spMk id="8" creationId="{9F768446-0AB2-B3E1-3333-88CAAE767719}"/>
          </ac:spMkLst>
        </pc:spChg>
        <pc:spChg chg="mod">
          <ac:chgData name="Lars Tennbakk Bockman" userId="5a235df0-e381-4c4c-99ce-24b4b21fb9d1" providerId="ADAL" clId="{FC896D71-30DB-4AEA-A103-A1535D2C5492}" dt="2025-01-02T12:25:16.293" v="137" actId="20577"/>
          <ac:spMkLst>
            <pc:docMk/>
            <pc:sldMk cId="4275014000" sldId="270"/>
            <ac:spMk id="11" creationId="{C9D230B1-551A-0E7A-96AB-ADE59A906758}"/>
          </ac:spMkLst>
        </pc:spChg>
        <pc:spChg chg="mod">
          <ac:chgData name="Lars Tennbakk Bockman" userId="5a235df0-e381-4c4c-99ce-24b4b21fb9d1" providerId="ADAL" clId="{FC896D71-30DB-4AEA-A103-A1535D2C5492}" dt="2025-01-08T12:09:10.116" v="6382" actId="20577"/>
          <ac:spMkLst>
            <pc:docMk/>
            <pc:sldMk cId="4275014000" sldId="270"/>
            <ac:spMk id="14" creationId="{21531C8D-908F-3C5D-76AA-208A0DF8D559}"/>
          </ac:spMkLst>
        </pc:spChg>
        <pc:picChg chg="mod">
          <ac:chgData name="Lars Tennbakk Bockman" userId="5a235df0-e381-4c4c-99ce-24b4b21fb9d1" providerId="ADAL" clId="{FC896D71-30DB-4AEA-A103-A1535D2C5492}" dt="2025-01-02T12:22:29.581" v="36" actId="14826"/>
          <ac:picMkLst>
            <pc:docMk/>
            <pc:sldMk cId="4275014000" sldId="270"/>
            <ac:picMk id="4" creationId="{333A123B-CC7B-438C-45B1-FD90C4A986EA}"/>
          </ac:picMkLst>
        </pc:picChg>
        <pc:picChg chg="mod">
          <ac:chgData name="Lars Tennbakk Bockman" userId="5a235df0-e381-4c4c-99ce-24b4b21fb9d1" providerId="ADAL" clId="{FC896D71-30DB-4AEA-A103-A1535D2C5492}" dt="2025-01-06T08:59:03.557" v="4958" actId="14826"/>
          <ac:picMkLst>
            <pc:docMk/>
            <pc:sldMk cId="4275014000" sldId="270"/>
            <ac:picMk id="5" creationId="{1FC70556-B41D-FA15-EDBD-21B7105AEC8B}"/>
          </ac:picMkLst>
        </pc:picChg>
        <pc:picChg chg="mod">
          <ac:chgData name="Lars Tennbakk Bockman" userId="5a235df0-e381-4c4c-99ce-24b4b21fb9d1" providerId="ADAL" clId="{FC896D71-30DB-4AEA-A103-A1535D2C5492}" dt="2025-01-08T12:08:58.175" v="6373" actId="14826"/>
          <ac:picMkLst>
            <pc:docMk/>
            <pc:sldMk cId="4275014000" sldId="270"/>
            <ac:picMk id="6" creationId="{E247D54D-3951-79FF-87AE-26509570666F}"/>
          </ac:picMkLst>
        </pc:picChg>
      </pc:sldChg>
      <pc:sldChg chg="addSp delSp modSp mod">
        <pc:chgData name="Lars Tennbakk Bockman" userId="5a235df0-e381-4c4c-99ce-24b4b21fb9d1" providerId="ADAL" clId="{FC896D71-30DB-4AEA-A103-A1535D2C5492}" dt="2025-01-06T14:37:35.158" v="6371" actId="20577"/>
        <pc:sldMkLst>
          <pc:docMk/>
          <pc:sldMk cId="4169780862" sldId="274"/>
        </pc:sldMkLst>
      </pc:sldChg>
      <pc:sldChg chg="modSp mod">
        <pc:chgData name="Lars Tennbakk Bockman" userId="5a235df0-e381-4c4c-99ce-24b4b21fb9d1" providerId="ADAL" clId="{FC896D71-30DB-4AEA-A103-A1535D2C5492}" dt="2025-01-08T12:25:22.054" v="6450" actId="20577"/>
        <pc:sldMkLst>
          <pc:docMk/>
          <pc:sldMk cId="1400664593" sldId="275"/>
        </pc:sldMkLst>
        <pc:spChg chg="mod">
          <ac:chgData name="Lars Tennbakk Bockman" userId="5a235df0-e381-4c4c-99ce-24b4b21fb9d1" providerId="ADAL" clId="{FC896D71-30DB-4AEA-A103-A1535D2C5492}" dt="2025-01-08T12:25:22.054" v="6450" actId="20577"/>
          <ac:spMkLst>
            <pc:docMk/>
            <pc:sldMk cId="1400664593" sldId="275"/>
            <ac:spMk id="13" creationId="{D3816D81-2F0C-5C31-0215-8B391B6646ED}"/>
          </ac:spMkLst>
        </pc:spChg>
        <pc:picChg chg="mod">
          <ac:chgData name="Lars Tennbakk Bockman" userId="5a235df0-e381-4c4c-99ce-24b4b21fb9d1" providerId="ADAL" clId="{FC896D71-30DB-4AEA-A103-A1535D2C5492}" dt="2025-01-02T12:22:50.854" v="38" actId="14826"/>
          <ac:picMkLst>
            <pc:docMk/>
            <pc:sldMk cId="1400664593" sldId="275"/>
            <ac:picMk id="10" creationId="{EDD2A1DB-03B4-A540-E2CF-68A1C96AF138}"/>
          </ac:picMkLst>
        </pc:picChg>
        <pc:picChg chg="mod">
          <ac:chgData name="Lars Tennbakk Bockman" userId="5a235df0-e381-4c4c-99ce-24b4b21fb9d1" providerId="ADAL" clId="{FC896D71-30DB-4AEA-A103-A1535D2C5492}" dt="2025-01-08T12:10:17.602" v="6383" actId="14826"/>
          <ac:picMkLst>
            <pc:docMk/>
            <pc:sldMk cId="1400664593" sldId="275"/>
            <ac:picMk id="12" creationId="{475A88D7-D294-62B2-8755-82110AB84DD1}"/>
          </ac:picMkLst>
        </pc:picChg>
        <pc:picChg chg="mod">
          <ac:chgData name="Lars Tennbakk Bockman" userId="5a235df0-e381-4c4c-99ce-24b4b21fb9d1" providerId="ADAL" clId="{FC896D71-30DB-4AEA-A103-A1535D2C5492}" dt="2025-01-02T12:29:05.434" v="351" actId="14100"/>
          <ac:picMkLst>
            <pc:docMk/>
            <pc:sldMk cId="1400664593" sldId="275"/>
            <ac:picMk id="1026" creationId="{A3000F04-E780-98BA-A9F5-FBB1AD330F20}"/>
          </ac:picMkLst>
        </pc:picChg>
        <pc:picChg chg="mod">
          <ac:chgData name="Lars Tennbakk Bockman" userId="5a235df0-e381-4c4c-99ce-24b4b21fb9d1" providerId="ADAL" clId="{FC896D71-30DB-4AEA-A103-A1535D2C5492}" dt="2025-01-02T12:28:40.848" v="345" actId="1076"/>
          <ac:picMkLst>
            <pc:docMk/>
            <pc:sldMk cId="1400664593" sldId="275"/>
            <ac:picMk id="1028" creationId="{7BD95610-1C21-5E69-CD9D-A797BAA38B11}"/>
          </ac:picMkLst>
        </pc:picChg>
        <pc:picChg chg="mod">
          <ac:chgData name="Lars Tennbakk Bockman" userId="5a235df0-e381-4c4c-99ce-24b4b21fb9d1" providerId="ADAL" clId="{FC896D71-30DB-4AEA-A103-A1535D2C5492}" dt="2025-01-02T12:28:37.913" v="344" actId="1076"/>
          <ac:picMkLst>
            <pc:docMk/>
            <pc:sldMk cId="1400664593" sldId="275"/>
            <ac:picMk id="1030" creationId="{ACF3AF7C-A2DE-81CC-E858-516CB40827CE}"/>
          </ac:picMkLst>
        </pc:picChg>
        <pc:picChg chg="mod">
          <ac:chgData name="Lars Tennbakk Bockman" userId="5a235df0-e381-4c4c-99ce-24b4b21fb9d1" providerId="ADAL" clId="{FC896D71-30DB-4AEA-A103-A1535D2C5492}" dt="2025-01-02T12:28:48.993" v="347" actId="1076"/>
          <ac:picMkLst>
            <pc:docMk/>
            <pc:sldMk cId="1400664593" sldId="275"/>
            <ac:picMk id="1032" creationId="{8EF0B950-C72C-D5A3-948A-06A2609A5B96}"/>
          </ac:picMkLst>
        </pc:picChg>
        <pc:picChg chg="mod">
          <ac:chgData name="Lars Tennbakk Bockman" userId="5a235df0-e381-4c4c-99ce-24b4b21fb9d1" providerId="ADAL" clId="{FC896D71-30DB-4AEA-A103-A1535D2C5492}" dt="2025-01-02T12:29:11.554" v="353" actId="1076"/>
          <ac:picMkLst>
            <pc:docMk/>
            <pc:sldMk cId="1400664593" sldId="275"/>
            <ac:picMk id="1034" creationId="{93E8EE5C-F00F-9D19-55F8-6D26C9255442}"/>
          </ac:picMkLst>
        </pc:picChg>
      </pc:sldChg>
      <pc:sldChg chg="modSp">
        <pc:chgData name="Lars Tennbakk Bockman" userId="5a235df0-e381-4c4c-99ce-24b4b21fb9d1" providerId="ADAL" clId="{FC896D71-30DB-4AEA-A103-A1535D2C5492}" dt="2025-01-06T13:58:08.914" v="6362" actId="14826"/>
        <pc:sldMkLst>
          <pc:docMk/>
          <pc:sldMk cId="3048309862" sldId="277"/>
        </pc:sldMkLst>
        <pc:picChg chg="mod">
          <ac:chgData name="Lars Tennbakk Bockman" userId="5a235df0-e381-4c4c-99ce-24b4b21fb9d1" providerId="ADAL" clId="{FC896D71-30DB-4AEA-A103-A1535D2C5492}" dt="2025-01-06T13:58:08.914" v="6362" actId="14826"/>
          <ac:picMkLst>
            <pc:docMk/>
            <pc:sldMk cId="3048309862" sldId="277"/>
            <ac:picMk id="15" creationId="{E74EA589-72EA-AA47-0E44-BCAE8A4D908E}"/>
          </ac:picMkLst>
        </pc:picChg>
      </pc:sldChg>
      <pc:sldChg chg="modSp add mod">
        <pc:chgData name="Lars Tennbakk Bockman" userId="5a235df0-e381-4c4c-99ce-24b4b21fb9d1" providerId="ADAL" clId="{FC896D71-30DB-4AEA-A103-A1535D2C5492}" dt="2025-01-08T12:11:18.722" v="6384" actId="14826"/>
        <pc:sldMkLst>
          <pc:docMk/>
          <pc:sldMk cId="684640037" sldId="278"/>
        </pc:sldMkLst>
      </pc:sldChg>
      <pc:sldChg chg="add del ord">
        <pc:chgData name="Lars Tennbakk Bockman" userId="5a235df0-e381-4c4c-99ce-24b4b21fb9d1" providerId="ADAL" clId="{FC896D71-30DB-4AEA-A103-A1535D2C5492}" dt="2025-01-02T13:30:59.342" v="1962" actId="47"/>
        <pc:sldMkLst>
          <pc:docMk/>
          <pc:sldMk cId="1260068763" sldId="278"/>
        </pc:sldMkLst>
      </pc:sldChg>
      <pc:sldChg chg="modSp add del mod">
        <pc:chgData name="Lars Tennbakk Bockman" userId="5a235df0-e381-4c4c-99ce-24b4b21fb9d1" providerId="ADAL" clId="{FC896D71-30DB-4AEA-A103-A1535D2C5492}" dt="2025-01-02T12:36:51.672" v="466" actId="47"/>
        <pc:sldMkLst>
          <pc:docMk/>
          <pc:sldMk cId="1348916666" sldId="278"/>
        </pc:sldMkLst>
      </pc:sldChg>
      <pc:sldChg chg="add del setBg">
        <pc:chgData name="Lars Tennbakk Bockman" userId="5a235df0-e381-4c4c-99ce-24b4b21fb9d1" providerId="ADAL" clId="{FC896D71-30DB-4AEA-A103-A1535D2C5492}" dt="2025-01-02T12:32:34.207" v="421"/>
        <pc:sldMkLst>
          <pc:docMk/>
          <pc:sldMk cId="2395984153" sldId="278"/>
        </pc:sldMkLst>
      </pc:sldChg>
      <pc:sldChg chg="add del setBg">
        <pc:chgData name="Lars Tennbakk Bockman" userId="5a235df0-e381-4c4c-99ce-24b4b21fb9d1" providerId="ADAL" clId="{FC896D71-30DB-4AEA-A103-A1535D2C5492}" dt="2025-01-02T13:31:05.902" v="1964"/>
        <pc:sldMkLst>
          <pc:docMk/>
          <pc:sldMk cId="3867242088" sldId="278"/>
        </pc:sldMkLst>
      </pc:sldChg>
      <pc:sldChg chg="addSp delSp modSp add mod">
        <pc:chgData name="Lars Tennbakk Bockman" userId="5a235df0-e381-4c4c-99ce-24b4b21fb9d1" providerId="ADAL" clId="{FC896D71-30DB-4AEA-A103-A1535D2C5492}" dt="2025-01-08T12:12:13.681" v="6426" actId="20577"/>
        <pc:sldMkLst>
          <pc:docMk/>
          <pc:sldMk cId="575956772" sldId="279"/>
        </pc:sldMkLst>
      </pc:sldChg>
      <pc:sldChg chg="add del setBg">
        <pc:chgData name="Lars Tennbakk Bockman" userId="5a235df0-e381-4c4c-99ce-24b4b21fb9d1" providerId="ADAL" clId="{FC896D71-30DB-4AEA-A103-A1535D2C5492}" dt="2025-01-02T13:50:36.804" v="1994"/>
        <pc:sldMkLst>
          <pc:docMk/>
          <pc:sldMk cId="1860843783" sldId="279"/>
        </pc:sldMkLst>
      </pc:sldChg>
      <pc:sldChg chg="addSp delSp modSp add mod">
        <pc:chgData name="Lars Tennbakk Bockman" userId="5a235df0-e381-4c4c-99ce-24b4b21fb9d1" providerId="ADAL" clId="{FC896D71-30DB-4AEA-A103-A1535D2C5492}" dt="2025-01-06T13:47:48.557" v="6361" actId="113"/>
        <pc:sldMkLst>
          <pc:docMk/>
          <pc:sldMk cId="2882603907" sldId="280"/>
        </pc:sldMkLst>
      </pc:sldChg>
      <pc:sldChg chg="addSp delSp modSp add mod ord">
        <pc:chgData name="Lars Tennbakk Bockman" userId="5a235df0-e381-4c4c-99ce-24b4b21fb9d1" providerId="ADAL" clId="{FC896D71-30DB-4AEA-A103-A1535D2C5492}" dt="2025-01-06T13:37:25.846" v="6189" actId="20577"/>
        <pc:sldMkLst>
          <pc:docMk/>
          <pc:sldMk cId="904067555" sldId="281"/>
        </pc:sldMkLst>
      </pc:sldChg>
    </pc:docChg>
  </pc:docChgLst>
  <pc:docChgLst>
    <pc:chgData name="Lars Bockman" userId="5a235df0-e381-4c4c-99ce-24b4b21fb9d1" providerId="ADAL" clId="{EDABE23E-248D-4ED0-A77F-ADFCEC09D289}"/>
    <pc:docChg chg="undo redo custSel addSld delSld modSld sldOrd replTag">
      <pc:chgData name="Lars Bockman" userId="5a235df0-e381-4c4c-99ce-24b4b21fb9d1" providerId="ADAL" clId="{EDABE23E-248D-4ED0-A77F-ADFCEC09D289}" dt="2024-06-04T11:03:29.173" v="9429"/>
      <pc:docMkLst>
        <pc:docMk/>
      </pc:docMkLst>
      <pc:sldChg chg="modSp mod">
        <pc:chgData name="Lars Bockman" userId="5a235df0-e381-4c4c-99ce-24b4b21fb9d1" providerId="ADAL" clId="{EDABE23E-248D-4ED0-A77F-ADFCEC09D289}" dt="2024-06-04T11:03:29.173" v="9429"/>
        <pc:sldMkLst>
          <pc:docMk/>
          <pc:sldMk cId="4148148830" sldId="259"/>
        </pc:sldMkLst>
      </pc:sldChg>
      <pc:sldChg chg="addSp delSp modSp mod">
        <pc:chgData name="Lars Bockman" userId="5a235df0-e381-4c4c-99ce-24b4b21fb9d1" providerId="ADAL" clId="{EDABE23E-248D-4ED0-A77F-ADFCEC09D289}" dt="2024-06-03T08:20:31.189" v="6093" actId="27636"/>
        <pc:sldMkLst>
          <pc:docMk/>
          <pc:sldMk cId="3149972175" sldId="261"/>
        </pc:sldMkLst>
      </pc:sldChg>
      <pc:sldChg chg="addSp modSp mod">
        <pc:chgData name="Lars Bockman" userId="5a235df0-e381-4c4c-99ce-24b4b21fb9d1" providerId="ADAL" clId="{EDABE23E-248D-4ED0-A77F-ADFCEC09D289}" dt="2024-06-04T07:31:53.165" v="7604" actId="20577"/>
        <pc:sldMkLst>
          <pc:docMk/>
          <pc:sldMk cId="362544367" sldId="264"/>
        </pc:sldMkLst>
      </pc:sldChg>
      <pc:sldChg chg="addSp delSp modSp mod">
        <pc:chgData name="Lars Bockman" userId="5a235df0-e381-4c4c-99ce-24b4b21fb9d1" providerId="ADAL" clId="{EDABE23E-248D-4ED0-A77F-ADFCEC09D289}" dt="2024-06-03T08:52:24.354" v="7050" actId="20577"/>
        <pc:sldMkLst>
          <pc:docMk/>
          <pc:sldMk cId="3809428704" sldId="268"/>
        </pc:sldMkLst>
      </pc:sldChg>
      <pc:sldChg chg="addSp delSp modSp mod">
        <pc:chgData name="Lars Bockman" userId="5a235df0-e381-4c4c-99ce-24b4b21fb9d1" providerId="ADAL" clId="{EDABE23E-248D-4ED0-A77F-ADFCEC09D289}" dt="2024-06-04T08:07:25.200" v="8913" actId="20577"/>
        <pc:sldMkLst>
          <pc:docMk/>
          <pc:sldMk cId="964345901" sldId="269"/>
        </pc:sldMkLst>
      </pc:sldChg>
      <pc:sldChg chg="addSp delSp modSp mod">
        <pc:chgData name="Lars Bockman" userId="5a235df0-e381-4c4c-99ce-24b4b21fb9d1" providerId="ADAL" clId="{EDABE23E-248D-4ED0-A77F-ADFCEC09D289}" dt="2024-06-04T08:10:24.938" v="9202"/>
        <pc:sldMkLst>
          <pc:docMk/>
          <pc:sldMk cId="4275014000" sldId="270"/>
        </pc:sldMkLst>
      </pc:sldChg>
      <pc:sldChg chg="modSp mod">
        <pc:chgData name="Lars Bockman" userId="5a235df0-e381-4c4c-99ce-24b4b21fb9d1" providerId="ADAL" clId="{EDABE23E-248D-4ED0-A77F-ADFCEC09D289}" dt="2024-06-04T07:39:26.273" v="8046" actId="20577"/>
        <pc:sldMkLst>
          <pc:docMk/>
          <pc:sldMk cId="4169780862" sldId="274"/>
        </pc:sldMkLst>
      </pc:sldChg>
      <pc:sldChg chg="modSp mod">
        <pc:chgData name="Lars Bockman" userId="5a235df0-e381-4c4c-99ce-24b4b21fb9d1" providerId="ADAL" clId="{EDABE23E-248D-4ED0-A77F-ADFCEC09D289}" dt="2024-06-04T08:02:40.414" v="8190" actId="20577"/>
        <pc:sldMkLst>
          <pc:docMk/>
          <pc:sldMk cId="1400664593" sldId="275"/>
        </pc:sldMkLst>
      </pc:sldChg>
      <pc:sldChg chg="delSp modSp del mod">
        <pc:chgData name="Lars Bockman" userId="5a235df0-e381-4c4c-99ce-24b4b21fb9d1" providerId="ADAL" clId="{EDABE23E-248D-4ED0-A77F-ADFCEC09D289}" dt="2024-06-04T08:03:38.248" v="8213" actId="47"/>
        <pc:sldMkLst>
          <pc:docMk/>
          <pc:sldMk cId="4123918659" sldId="276"/>
        </pc:sldMkLst>
      </pc:sldChg>
      <pc:sldChg chg="addSp delSp modSp add mod ord">
        <pc:chgData name="Lars Bockman" userId="5a235df0-e381-4c4c-99ce-24b4b21fb9d1" providerId="ADAL" clId="{EDABE23E-248D-4ED0-A77F-ADFCEC09D289}" dt="2024-06-04T08:04:10.760" v="8414"/>
        <pc:sldMkLst>
          <pc:docMk/>
          <pc:sldMk cId="3048309862" sldId="277"/>
        </pc:sldMkLst>
      </pc:sldChg>
    </pc:docChg>
  </pc:docChgLst>
  <pc:docChgLst>
    <pc:chgData name="Lars Tennbakk Bockman" userId="5a235df0-e381-4c4c-99ce-24b4b21fb9d1" providerId="ADAL" clId="{83B02544-0F5E-4C44-B18B-AC7E10D8800E}"/>
    <pc:docChg chg="undo custSel modSld replTag">
      <pc:chgData name="Lars Tennbakk Bockman" userId="5a235df0-e381-4c4c-99ce-24b4b21fb9d1" providerId="ADAL" clId="{83B02544-0F5E-4C44-B18B-AC7E10D8800E}" dt="2024-04-04T08:15:12.655" v="2738" actId="13926"/>
      <pc:docMkLst>
        <pc:docMk/>
      </pc:docMkLst>
      <pc:sldChg chg="modSp mod delCm">
        <pc:chgData name="Lars Tennbakk Bockman" userId="5a235df0-e381-4c4c-99ce-24b4b21fb9d1" providerId="ADAL" clId="{83B02544-0F5E-4C44-B18B-AC7E10D8800E}" dt="2024-04-04T08:15:12.655" v="2738" actId="13926"/>
        <pc:sldMkLst>
          <pc:docMk/>
          <pc:sldMk cId="4148148830" sldId="259"/>
        </pc:sldMkLst>
        <pc:extLst>
          <p:ext xmlns:p="http://schemas.openxmlformats.org/presentationml/2006/main" uri="{D6D511B9-2390-475A-947B-AFAB55BFBCF1}">
            <pc226:cmChg xmlns:pc226="http://schemas.microsoft.com/office/powerpoint/2022/06/main/command" chg="del">
              <pc226:chgData name="Lars Tennbakk Bockman" userId="5a235df0-e381-4c4c-99ce-24b4b21fb9d1" providerId="ADAL" clId="{83B02544-0F5E-4C44-B18B-AC7E10D8800E}" dt="2024-04-03T08:49:57.781" v="9"/>
              <pc2:cmMkLst xmlns:pc2="http://schemas.microsoft.com/office/powerpoint/2019/9/main/command">
                <pc:docMk/>
                <pc:sldMk cId="4148148830" sldId="259"/>
                <pc2:cmMk id="{5A7F3826-50B9-4FC9-9604-5B3829FA2F20}"/>
              </pc2:cmMkLst>
            </pc226:cmChg>
          </p:ext>
        </pc:extLst>
      </pc:sldChg>
    </pc:docChg>
  </pc:docChgLst>
  <pc:docChgLst>
    <pc:chgData name="Lars Bockman" userId="5a235df0-e381-4c4c-99ce-24b4b21fb9d1" providerId="ADAL" clId="{C0B6E7DC-0448-43D1-82B8-227DAF8C55E9}"/>
    <pc:docChg chg="modSld">
      <pc:chgData name="Lars Bockman" userId="5a235df0-e381-4c4c-99ce-24b4b21fb9d1" providerId="ADAL" clId="{C0B6E7DC-0448-43D1-82B8-227DAF8C55E9}" dt="2024-06-10T10:33:27.210" v="38" actId="20577"/>
      <pc:docMkLst>
        <pc:docMk/>
      </pc:docMkLst>
    </pc:docChg>
  </pc:docChgLst>
  <pc:docChgLst>
    <pc:chgData name="Lars Tennbakk Bockman" userId="5a235df0-e381-4c4c-99ce-24b4b21fb9d1" providerId="ADAL" clId="{2DD08CE4-CA9B-4C62-8211-1FE07A121053}"/>
    <pc:docChg chg="undo custSel modSld">
      <pc:chgData name="Lars Tennbakk Bockman" userId="5a235df0-e381-4c4c-99ce-24b4b21fb9d1" providerId="ADAL" clId="{2DD08CE4-CA9B-4C62-8211-1FE07A121053}" dt="2024-10-04T10:03:57.895" v="2678" actId="20577"/>
      <pc:docMkLst>
        <pc:docMk/>
      </pc:docMkLst>
      <pc:sldChg chg="modSp mod modCm">
        <pc:chgData name="Lars Tennbakk Bockman" userId="5a235df0-e381-4c4c-99ce-24b4b21fb9d1" providerId="ADAL" clId="{2DD08CE4-CA9B-4C62-8211-1FE07A121053}" dt="2024-10-04T10:03:57.895" v="2678" actId="20577"/>
        <pc:sldMkLst>
          <pc:docMk/>
          <pc:sldMk cId="4148148830" sldId="259"/>
        </pc:sldMkLst>
        <pc:extLst>
          <p:ext xmlns:p="http://schemas.openxmlformats.org/presentationml/2006/main" uri="{D6D511B9-2390-475A-947B-AFAB55BFBCF1}">
            <pc226:cmChg xmlns:pc226="http://schemas.microsoft.com/office/powerpoint/2022/06/main/command" chg="mod">
              <pc226:chgData name="Lars Tennbakk Bockman" userId="5a235df0-e381-4c4c-99ce-24b4b21fb9d1" providerId="ADAL" clId="{2DD08CE4-CA9B-4C62-8211-1FE07A121053}" dt="2024-10-04T10:03:57.895" v="2678" actId="20577"/>
              <pc2:cmMkLst xmlns:pc2="http://schemas.microsoft.com/office/powerpoint/2019/9/main/command">
                <pc:docMk/>
                <pc:sldMk cId="4148148830" sldId="259"/>
                <pc2:cmMk id="{83A35CC2-E05B-4685-AD7D-7EB6C0D18964}"/>
              </pc2:cmMkLst>
            </pc226:cmChg>
          </p:ext>
        </pc:extLst>
      </pc:sldChg>
      <pc:sldChg chg="addSp delSp modSp mod">
        <pc:chgData name="Lars Tennbakk Bockman" userId="5a235df0-e381-4c4c-99ce-24b4b21fb9d1" providerId="ADAL" clId="{2DD08CE4-CA9B-4C62-8211-1FE07A121053}" dt="2024-10-03T09:20:21.847" v="2484" actId="14734"/>
        <pc:sldMkLst>
          <pc:docMk/>
          <pc:sldMk cId="4169780862" sldId="274"/>
        </pc:sldMkLst>
      </pc:sldChg>
      <pc:sldChg chg="modSp">
        <pc:chgData name="Lars Tennbakk Bockman" userId="5a235df0-e381-4c4c-99ce-24b4b21fb9d1" providerId="ADAL" clId="{2DD08CE4-CA9B-4C62-8211-1FE07A121053}" dt="2024-10-03T09:25:04.492" v="2486" actId="14826"/>
        <pc:sldMkLst>
          <pc:docMk/>
          <pc:sldMk cId="3048309862" sldId="277"/>
        </pc:sldMkLst>
      </pc:sldChg>
    </pc:docChg>
  </pc:docChgLst>
  <pc:docChgLst>
    <pc:chgData name="Lars Tennbakk Bockman" userId="5a235df0-e381-4c4c-99ce-24b4b21fb9d1" providerId="ADAL" clId="{29571FDC-99EC-43E1-BF44-2567C8FCCD48}"/>
    <pc:docChg chg="custSel modSld">
      <pc:chgData name="Lars Tennbakk Bockman" userId="5a235df0-e381-4c4c-99ce-24b4b21fb9d1" providerId="ADAL" clId="{29571FDC-99EC-43E1-BF44-2567C8FCCD48}" dt="2024-09-05T10:27:08.662" v="7072" actId="20577"/>
      <pc:docMkLst>
        <pc:docMk/>
      </pc:docMkLst>
      <pc:sldChg chg="modSp mod">
        <pc:chgData name="Lars Tennbakk Bockman" userId="5a235df0-e381-4c4c-99ce-24b4b21fb9d1" providerId="ADAL" clId="{29571FDC-99EC-43E1-BF44-2567C8FCCD48}" dt="2024-09-05T09:26:34.090" v="6308" actId="20577"/>
        <pc:sldMkLst>
          <pc:docMk/>
          <pc:sldMk cId="4148148830" sldId="259"/>
        </pc:sldMkLst>
      </pc:sldChg>
      <pc:sldChg chg="addSp delSp modSp mod">
        <pc:chgData name="Lars Tennbakk Bockman" userId="5a235df0-e381-4c4c-99ce-24b4b21fb9d1" providerId="ADAL" clId="{29571FDC-99EC-43E1-BF44-2567C8FCCD48}" dt="2024-09-05T10:16:44.729" v="6328" actId="20577"/>
        <pc:sldMkLst>
          <pc:docMk/>
          <pc:sldMk cId="362544367" sldId="264"/>
        </pc:sldMkLst>
      </pc:sldChg>
      <pc:sldChg chg="addSp delSp modSp mod">
        <pc:chgData name="Lars Tennbakk Bockman" userId="5a235df0-e381-4c4c-99ce-24b4b21fb9d1" providerId="ADAL" clId="{29571FDC-99EC-43E1-BF44-2567C8FCCD48}" dt="2024-09-05T10:21:39.876" v="6484" actId="20577"/>
        <pc:sldMkLst>
          <pc:docMk/>
          <pc:sldMk cId="4169780862" sldId="274"/>
        </pc:sldMkLst>
      </pc:sldChg>
      <pc:sldChg chg="modSp">
        <pc:chgData name="Lars Tennbakk Bockman" userId="5a235df0-e381-4c4c-99ce-24b4b21fb9d1" providerId="ADAL" clId="{29571FDC-99EC-43E1-BF44-2567C8FCCD48}" dt="2024-09-05T10:06:12.379" v="6309" actId="14826"/>
        <pc:sldMkLst>
          <pc:docMk/>
          <pc:sldMk cId="3048309862" sldId="277"/>
        </pc:sldMkLst>
      </pc:sldChg>
    </pc:docChg>
  </pc:docChgLst>
  <pc:docChgLst>
    <pc:chgData name="Lars Tennbakk Bockman" userId="5a235df0-e381-4c4c-99ce-24b4b21fb9d1" providerId="ADAL" clId="{D8FC7D48-BB51-4BF8-9320-0C2DEEC22118}"/>
    <pc:docChg chg="modSld">
      <pc:chgData name="Lars Tennbakk Bockman" userId="5a235df0-e381-4c4c-99ce-24b4b21fb9d1" providerId="ADAL" clId="{D8FC7D48-BB51-4BF8-9320-0C2DEEC22118}" dt="2024-04-26T12:44:00.145" v="2317" actId="20577"/>
      <pc:docMkLst>
        <pc:docMk/>
      </pc:docMkLst>
    </pc:docChg>
  </pc:docChgLst>
  <pc:docChgLst>
    <pc:chgData name="Iselin Ekeli Rønningsbakk" userId="187300ae-9cb6-416d-8a94-664ca977a24d" providerId="ADAL" clId="{CA485EF5-6DA2-4557-BD62-EC26CEFF2A42}"/>
    <pc:docChg chg="custSel modSld">
      <pc:chgData name="Iselin Ekeli Rønningsbakk" userId="187300ae-9cb6-416d-8a94-664ca977a24d" providerId="ADAL" clId="{CA485EF5-6DA2-4557-BD62-EC26CEFF2A42}" dt="2024-08-06T10:47:07.707" v="1558"/>
      <pc:docMkLst>
        <pc:docMk/>
      </pc:docMkLst>
    </pc:docChg>
  </pc:docChgLst>
  <pc:docChgLst>
    <pc:chgData name="Iselin Ekeli Rønningsbakk" userId="187300ae-9cb6-416d-8a94-664ca977a24d" providerId="ADAL" clId="{6E22A7A5-741D-4F17-86EF-2AAF255A7495}"/>
    <pc:docChg chg="undo custSel delSld modSld">
      <pc:chgData name="Iselin Ekeli Rønningsbakk" userId="187300ae-9cb6-416d-8a94-664ca977a24d" providerId="ADAL" clId="{6E22A7A5-741D-4F17-86EF-2AAF255A7495}" dt="2024-12-13T14:53:38.208" v="2199" actId="2696"/>
      <pc:docMkLst>
        <pc:docMk/>
      </pc:docMkLst>
      <pc:sldChg chg="modSp del mod">
        <pc:chgData name="Iselin Ekeli Rønningsbakk" userId="187300ae-9cb6-416d-8a94-664ca977a24d" providerId="ADAL" clId="{6E22A7A5-741D-4F17-86EF-2AAF255A7495}" dt="2024-12-13T14:53:38.208" v="2199" actId="2696"/>
        <pc:sldMkLst>
          <pc:docMk/>
          <pc:sldMk cId="4148148830" sldId="259"/>
        </pc:sldMkLst>
      </pc:sldChg>
      <pc:sldChg chg="modSp mod">
        <pc:chgData name="Iselin Ekeli Rønningsbakk" userId="187300ae-9cb6-416d-8a94-664ca977a24d" providerId="ADAL" clId="{6E22A7A5-741D-4F17-86EF-2AAF255A7495}" dt="2024-12-13T14:47:31.324" v="1496" actId="6549"/>
        <pc:sldMkLst>
          <pc:docMk/>
          <pc:sldMk cId="1400664593" sldId="275"/>
        </pc:sldMkLst>
        <pc:spChg chg="mod">
          <ac:chgData name="Iselin Ekeli Rønningsbakk" userId="187300ae-9cb6-416d-8a94-664ca977a24d" providerId="ADAL" clId="{6E22A7A5-741D-4F17-86EF-2AAF255A7495}" dt="2024-12-13T14:47:31.324" v="1496" actId="6549"/>
          <ac:spMkLst>
            <pc:docMk/>
            <pc:sldMk cId="1400664593" sldId="275"/>
            <ac:spMk id="13" creationId="{D3816D81-2F0C-5C31-0215-8B391B6646ED}"/>
          </ac:spMkLst>
        </pc:spChg>
      </pc:sldChg>
    </pc:docChg>
  </pc:docChgLst>
  <pc:docChgLst>
    <pc:chgData name="Iselin Ekeli Rønningsbakk" userId="187300ae-9cb6-416d-8a94-664ca977a24d" providerId="ADAL" clId="{D8EA8C15-6F1E-434E-BD2E-C43DE910E8AD}"/>
    <pc:docChg chg="undo custSel modSld">
      <pc:chgData name="Iselin Ekeli Rønningsbakk" userId="187300ae-9cb6-416d-8a94-664ca977a24d" providerId="ADAL" clId="{D8EA8C15-6F1E-434E-BD2E-C43DE910E8AD}" dt="2024-10-04T09:57:43.192" v="2671" actId="255"/>
      <pc:docMkLst>
        <pc:docMk/>
      </pc:docMkLst>
      <pc:sldChg chg="modSp mod modCm">
        <pc:chgData name="Iselin Ekeli Rønningsbakk" userId="187300ae-9cb6-416d-8a94-664ca977a24d" providerId="ADAL" clId="{D8EA8C15-6F1E-434E-BD2E-C43DE910E8AD}" dt="2024-10-04T07:55:31.222" v="665" actId="6549"/>
        <pc:sldMkLst>
          <pc:docMk/>
          <pc:sldMk cId="4148148830" sldId="259"/>
        </pc:sldMkLst>
        <pc:extLst>
          <p:ext xmlns:p="http://schemas.openxmlformats.org/presentationml/2006/main" uri="{D6D511B9-2390-475A-947B-AFAB55BFBCF1}">
            <pc226:cmChg xmlns:pc226="http://schemas.microsoft.com/office/powerpoint/2022/06/main/command" chg="mod">
              <pc226:chgData name="Iselin Ekeli Rønningsbakk" userId="187300ae-9cb6-416d-8a94-664ca977a24d" providerId="ADAL" clId="{D8EA8C15-6F1E-434E-BD2E-C43DE910E8AD}" dt="2024-10-04T07:55:31.222" v="665" actId="6549"/>
              <pc2:cmMkLst xmlns:pc2="http://schemas.microsoft.com/office/powerpoint/2019/9/main/command">
                <pc:docMk/>
                <pc:sldMk cId="4148148830" sldId="259"/>
                <pc2:cmMk id="{83A35CC2-E05B-4685-AD7D-7EB6C0D18964}"/>
              </pc2:cmMkLst>
            </pc226:cmChg>
          </p:ext>
        </pc:extLst>
      </pc:sldChg>
    </pc:docChg>
  </pc:docChgLst>
  <pc:docChgLst>
    <pc:chgData name="Iselin Ekeli Rønningsbakk" userId="187300ae-9cb6-416d-8a94-664ca977a24d" providerId="ADAL" clId="{E6A057FB-F637-4A2C-97C5-0A61BFA6AE22}"/>
    <pc:docChg chg="undo custSel modSld">
      <pc:chgData name="Iselin Ekeli Rønningsbakk" userId="187300ae-9cb6-416d-8a94-664ca977a24d" providerId="ADAL" clId="{E6A057FB-F637-4A2C-97C5-0A61BFA6AE22}" dt="2025-03-05T13:24:09.649" v="586" actId="20577"/>
      <pc:docMkLst>
        <pc:docMk/>
      </pc:docMkLst>
    </pc:docChg>
  </pc:docChgLst>
  <pc:docChgLst>
    <pc:chgData name="Lars Tennbakk Bockman" userId="S::lars.bockman@fornybarnorge.no::5a235df0-e381-4c4c-99ce-24b4b21fb9d1" providerId="AD" clId="Web-{5DD8785E-882F-ECCF-52C8-221874D7BB54}"/>
    <pc:docChg chg="modSld">
      <pc:chgData name="Lars Tennbakk Bockman" userId="S::lars.bockman@fornybarnorge.no::5a235df0-e381-4c4c-99ce-24b4b21fb9d1" providerId="AD" clId="Web-{5DD8785E-882F-ECCF-52C8-221874D7BB54}" dt="2025-02-10T09:08:44.325" v="1" actId="20577"/>
      <pc:docMkLst>
        <pc:docMk/>
      </pc:docMkLst>
      <pc:sldChg chg="modSp modCm">
        <pc:chgData name="Lars Tennbakk Bockman" userId="S::lars.bockman@fornybarnorge.no::5a235df0-e381-4c4c-99ce-24b4b21fb9d1" providerId="AD" clId="Web-{5DD8785E-882F-ECCF-52C8-221874D7BB54}" dt="2025-02-10T09:08:44.325" v="1" actId="20577"/>
        <pc:sldMkLst>
          <pc:docMk/>
          <pc:sldMk cId="1400664593" sldId="275"/>
        </pc:sldMkLst>
        <pc:spChg chg="mod">
          <ac:chgData name="Lars Tennbakk Bockman" userId="S::lars.bockman@fornybarnorge.no::5a235df0-e381-4c4c-99ce-24b4b21fb9d1" providerId="AD" clId="Web-{5DD8785E-882F-ECCF-52C8-221874D7BB54}" dt="2025-02-10T09:08:44.325" v="1" actId="20577"/>
          <ac:spMkLst>
            <pc:docMk/>
            <pc:sldMk cId="1400664593" sldId="275"/>
            <ac:spMk id="13" creationId="{D3816D81-2F0C-5C31-0215-8B391B6646ED}"/>
          </ac:spMkLst>
        </pc:spChg>
        <pc:extLst>
          <p:ext xmlns:p="http://schemas.openxmlformats.org/presentationml/2006/main" uri="{D6D511B9-2390-475A-947B-AFAB55BFBCF1}">
            <pc226:cmChg xmlns:pc226="http://schemas.microsoft.com/office/powerpoint/2022/06/main/command" chg="mod">
              <pc226:chgData name="Lars Tennbakk Bockman" userId="S::lars.bockman@fornybarnorge.no::5a235df0-e381-4c4c-99ce-24b4b21fb9d1" providerId="AD" clId="Web-{5DD8785E-882F-ECCF-52C8-221874D7BB54}" dt="2025-02-10T09:08:44.325" v="1" actId="20577"/>
              <pc2:cmMkLst xmlns:pc2="http://schemas.microsoft.com/office/powerpoint/2019/9/main/command">
                <pc:docMk/>
                <pc:sldMk cId="1400664593" sldId="275"/>
                <pc2:cmMk id="{C25C61D5-0D0A-4CFD-84C1-58F6DE528F43}"/>
              </pc2:cmMkLst>
            </pc226:cmChg>
          </p:ext>
        </pc:extLst>
      </pc:sldChg>
    </pc:docChg>
  </pc:docChgLst>
  <pc:docChgLst>
    <pc:chgData name="Lars Tennbakk Bockman" userId="5a235df0-e381-4c4c-99ce-24b4b21fb9d1" providerId="ADAL" clId="{BA722753-AECD-42BA-AFBB-BA15DC32378A}"/>
    <pc:docChg chg="undo custSel addSld delSld modSld">
      <pc:chgData name="Lars Tennbakk Bockman" userId="5a235df0-e381-4c4c-99ce-24b4b21fb9d1" providerId="ADAL" clId="{BA722753-AECD-42BA-AFBB-BA15DC32378A}" dt="2024-07-05T07:18:45.592" v="1810" actId="20577"/>
      <pc:docMkLst>
        <pc:docMk/>
      </pc:docMkLst>
      <pc:sldChg chg="modSp add del">
        <pc:chgData name="Lars Tennbakk Bockman" userId="5a235df0-e381-4c4c-99ce-24b4b21fb9d1" providerId="ADAL" clId="{BA722753-AECD-42BA-AFBB-BA15DC32378A}" dt="2024-07-02T09:07:36.875" v="1797" actId="14826"/>
        <pc:sldMkLst>
          <pc:docMk/>
          <pc:sldMk cId="3048309862" sldId="277"/>
        </pc:sldMkLst>
      </pc:sldChg>
    </pc:docChg>
  </pc:docChgLst>
  <pc:docChgLst>
    <pc:chgData name="Lars Tennbakk Bockman" userId="5a235df0-e381-4c4c-99ce-24b4b21fb9d1" providerId="ADAL" clId="{AAC28722-CAC1-4A92-BD45-FDE32BB7A4C9}"/>
    <pc:docChg chg="modSld">
      <pc:chgData name="Lars Tennbakk Bockman" userId="5a235df0-e381-4c4c-99ce-24b4b21fb9d1" providerId="ADAL" clId="{AAC28722-CAC1-4A92-BD45-FDE32BB7A4C9}" dt="2024-08-06T12:28:57.093" v="5" actId="20577"/>
      <pc:docMkLst>
        <pc:docMk/>
      </pc:docMkLst>
    </pc:docChg>
  </pc:docChgLst>
  <pc:docChgLst>
    <pc:chgData name="Iselin Ekeli Rønningsbakk" userId="187300ae-9cb6-416d-8a94-664ca977a24d" providerId="ADAL" clId="{A982F088-28B0-44E7-A540-057AB14E26F1}"/>
    <pc:docChg chg="">
      <pc:chgData name="Iselin Ekeli Rønningsbakk" userId="187300ae-9cb6-416d-8a94-664ca977a24d" providerId="ADAL" clId="{A982F088-28B0-44E7-A540-057AB14E26F1}" dt="2024-05-13T09:04:11.853" v="0"/>
      <pc:docMkLst>
        <pc:docMk/>
      </pc:docMkLst>
    </pc:docChg>
  </pc:docChgLst>
  <pc:docChgLst>
    <pc:chgData name="Lars Tennbakk Bockman" userId="S::lars.bockman@fornybarnorge.no::5a235df0-e381-4c4c-99ce-24b4b21fb9d1" providerId="AD" clId="Web-{2254737F-0DB4-F7FF-95C8-94BEF1B6C4FC}"/>
    <pc:docChg chg="modSld">
      <pc:chgData name="Lars Tennbakk Bockman" userId="S::lars.bockman@fornybarnorge.no::5a235df0-e381-4c4c-99ce-24b4b21fb9d1" providerId="AD" clId="Web-{2254737F-0DB4-F7FF-95C8-94BEF1B6C4FC}" dt="2024-12-05T15:06:11.749" v="26"/>
      <pc:docMkLst>
        <pc:docMk/>
      </pc:docMkLst>
    </pc:docChg>
  </pc:docChgLst>
  <pc:docChgLst>
    <pc:chgData name="Lars Tennbakk Bockman" userId="5a235df0-e381-4c4c-99ce-24b4b21fb9d1" providerId="ADAL" clId="{2A5E591B-F2DD-4EC3-8AFA-672242BBBDF2}"/>
    <pc:docChg chg="custSel modSld">
      <pc:chgData name="Lars Tennbakk Bockman" userId="5a235df0-e381-4c4c-99ce-24b4b21fb9d1" providerId="ADAL" clId="{2A5E591B-F2DD-4EC3-8AFA-672242BBBDF2}" dt="2024-11-04T11:34:09.154" v="3280" actId="20577"/>
      <pc:docMkLst>
        <pc:docMk/>
      </pc:docMkLst>
    </pc:docChg>
  </pc:docChgLst>
  <pc:docChgLst>
    <pc:chgData name="Ingeborg Aarø" userId="S::ingeborg.aaro@fornybarnorge.no::fe5f74f8-3120-49da-a10f-7c51be1254b1" providerId="AD" clId="Web-{49594A3B-2D5F-9DAF-A814-9A3960F084FD}"/>
    <pc:docChg chg="modSld">
      <pc:chgData name="Ingeborg Aarø" userId="S::ingeborg.aaro@fornybarnorge.no::fe5f74f8-3120-49da-a10f-7c51be1254b1" providerId="AD" clId="Web-{49594A3B-2D5F-9DAF-A814-9A3960F084FD}" dt="2024-06-05T11:09:23.309" v="15" actId="14100"/>
      <pc:docMkLst>
        <pc:docMk/>
      </pc:docMkLst>
    </pc:docChg>
  </pc:docChgLst>
  <pc:docChgLst>
    <pc:chgData name="Iselin Ekeli Rønningsbakk" userId="187300ae-9cb6-416d-8a94-664ca977a24d" providerId="ADAL" clId="{EE21E6D1-581B-48DE-BEF9-DE59C28260FD}"/>
    <pc:docChg chg="">
      <pc:chgData name="Iselin Ekeli Rønningsbakk" userId="187300ae-9cb6-416d-8a94-664ca977a24d" providerId="ADAL" clId="{EE21E6D1-581B-48DE-BEF9-DE59C28260FD}" dt="2024-05-16T07:00:05.547" v="0"/>
      <pc:docMkLst>
        <pc:docMk/>
      </pc:docMkLst>
      <pc:sldChg chg="delCm">
        <pc:chgData name="Iselin Ekeli Rønningsbakk" userId="187300ae-9cb6-416d-8a94-664ca977a24d" providerId="ADAL" clId="{EE21E6D1-581B-48DE-BEF9-DE59C28260FD}" dt="2024-05-16T07:00:05.547" v="0"/>
        <pc:sldMkLst>
          <pc:docMk/>
          <pc:sldMk cId="3809428704" sldId="268"/>
        </pc:sldMkLst>
        <pc:extLst>
          <p:ext xmlns:p="http://schemas.openxmlformats.org/presentationml/2006/main" uri="{D6D511B9-2390-475A-947B-AFAB55BFBCF1}">
            <pc226:cmChg xmlns:pc226="http://schemas.microsoft.com/office/powerpoint/2022/06/main/command" chg="del">
              <pc226:chgData name="Iselin Ekeli Rønningsbakk" userId="187300ae-9cb6-416d-8a94-664ca977a24d" providerId="ADAL" clId="{EE21E6D1-581B-48DE-BEF9-DE59C28260FD}" dt="2024-05-16T07:00:05.547" v="0"/>
              <pc2:cmMkLst xmlns:pc2="http://schemas.microsoft.com/office/powerpoint/2019/9/main/command">
                <pc:docMk/>
                <pc:sldMk cId="3809428704" sldId="268"/>
                <pc2:cmMk id="{97225C20-E4DC-4851-AA9D-66978ACF5BAB}"/>
              </pc2:cmMkLst>
            </pc226:cmChg>
          </p:ext>
        </pc:extLst>
      </pc:sldChg>
    </pc:docChg>
  </pc:docChgLst>
  <pc:docChgLst>
    <pc:chgData name="Lars Tennbakk Bockman" userId="5a235df0-e381-4c4c-99ce-24b4b21fb9d1" providerId="ADAL" clId="{ABAA80D7-86DB-4885-A91A-0E4A582610D4}"/>
    <pc:docChg chg="undo custSel delSld modSld">
      <pc:chgData name="Lars Tennbakk Bockman" userId="5a235df0-e381-4c4c-99ce-24b4b21fb9d1" providerId="ADAL" clId="{ABAA80D7-86DB-4885-A91A-0E4A582610D4}" dt="2025-02-07T12:58:04.949" v="6386" actId="14826"/>
      <pc:docMkLst>
        <pc:docMk/>
      </pc:docMkLst>
      <pc:sldChg chg="modSp mod">
        <pc:chgData name="Lars Tennbakk Bockman" userId="5a235df0-e381-4c4c-99ce-24b4b21fb9d1" providerId="ADAL" clId="{ABAA80D7-86DB-4885-A91A-0E4A582610D4}" dt="2025-02-06T14:53:23.462" v="5058" actId="20577"/>
        <pc:sldMkLst>
          <pc:docMk/>
          <pc:sldMk cId="3149972175" sldId="261"/>
        </pc:sldMkLst>
        <pc:spChg chg="mod">
          <ac:chgData name="Lars Tennbakk Bockman" userId="5a235df0-e381-4c4c-99ce-24b4b21fb9d1" providerId="ADAL" clId="{ABAA80D7-86DB-4885-A91A-0E4A582610D4}" dt="2025-02-06T09:11:54.741" v="7" actId="20577"/>
          <ac:spMkLst>
            <pc:docMk/>
            <pc:sldMk cId="3149972175" sldId="261"/>
            <ac:spMk id="2" creationId="{EB808BFC-B71A-C9E5-5827-2A0376474563}"/>
          </ac:spMkLst>
        </pc:spChg>
        <pc:spChg chg="mod">
          <ac:chgData name="Lars Tennbakk Bockman" userId="5a235df0-e381-4c4c-99ce-24b4b21fb9d1" providerId="ADAL" clId="{ABAA80D7-86DB-4885-A91A-0E4A582610D4}" dt="2025-02-06T14:53:23.462" v="5058" actId="20577"/>
          <ac:spMkLst>
            <pc:docMk/>
            <pc:sldMk cId="3149972175" sldId="261"/>
            <ac:spMk id="15" creationId="{71CD328A-FCBF-98DB-A3A2-36A13A7E9980}"/>
          </ac:spMkLst>
        </pc:spChg>
      </pc:sldChg>
      <pc:sldChg chg="addSp delSp modSp mod">
        <pc:chgData name="Lars Tennbakk Bockman" userId="5a235df0-e381-4c4c-99ce-24b4b21fb9d1" providerId="ADAL" clId="{ABAA80D7-86DB-4885-A91A-0E4A582610D4}" dt="2025-02-07T08:38:15.326" v="6282" actId="113"/>
        <pc:sldMkLst>
          <pc:docMk/>
          <pc:sldMk cId="362544367" sldId="264"/>
        </pc:sldMkLst>
        <pc:spChg chg="mod">
          <ac:chgData name="Lars Tennbakk Bockman" userId="5a235df0-e381-4c4c-99ce-24b4b21fb9d1" providerId="ADAL" clId="{ABAA80D7-86DB-4885-A91A-0E4A582610D4}" dt="2025-02-07T08:38:01.188" v="6277" actId="20577"/>
          <ac:spMkLst>
            <pc:docMk/>
            <pc:sldMk cId="362544367" sldId="264"/>
            <ac:spMk id="2" creationId="{5213922F-444B-9587-AFC4-5C4C6A8D8FDB}"/>
          </ac:spMkLst>
        </pc:spChg>
      </pc:sldChg>
      <pc:sldChg chg="modSp mod">
        <pc:chgData name="Lars Tennbakk Bockman" userId="5a235df0-e381-4c4c-99ce-24b4b21fb9d1" providerId="ADAL" clId="{ABAA80D7-86DB-4885-A91A-0E4A582610D4}" dt="2025-02-07T08:36:41.010" v="6249" actId="403"/>
        <pc:sldMkLst>
          <pc:docMk/>
          <pc:sldMk cId="3809428704" sldId="268"/>
        </pc:sldMkLst>
        <pc:spChg chg="mod">
          <ac:chgData name="Lars Tennbakk Bockman" userId="5a235df0-e381-4c4c-99ce-24b4b21fb9d1" providerId="ADAL" clId="{ABAA80D7-86DB-4885-A91A-0E4A582610D4}" dt="2025-02-07T08:36:41.010" v="6249" actId="403"/>
          <ac:spMkLst>
            <pc:docMk/>
            <pc:sldMk cId="3809428704" sldId="268"/>
            <ac:spMk id="2" creationId="{E225F7EA-99E6-543D-3D1D-6EACC2C8D6E1}"/>
          </ac:spMkLst>
        </pc:spChg>
        <pc:spChg chg="mod">
          <ac:chgData name="Lars Tennbakk Bockman" userId="5a235df0-e381-4c4c-99ce-24b4b21fb9d1" providerId="ADAL" clId="{ABAA80D7-86DB-4885-A91A-0E4A582610D4}" dt="2025-02-06T14:50:18.760" v="4750" actId="404"/>
          <ac:spMkLst>
            <pc:docMk/>
            <pc:sldMk cId="3809428704" sldId="268"/>
            <ac:spMk id="3" creationId="{8A3EFEB1-D7F7-A46E-7DED-AE462CEAB1A0}"/>
          </ac:spMkLst>
        </pc:spChg>
        <pc:spChg chg="mod">
          <ac:chgData name="Lars Tennbakk Bockman" userId="5a235df0-e381-4c4c-99ce-24b4b21fb9d1" providerId="ADAL" clId="{ABAA80D7-86DB-4885-A91A-0E4A582610D4}" dt="2025-02-06T14:46:27.371" v="3590" actId="20577"/>
          <ac:spMkLst>
            <pc:docMk/>
            <pc:sldMk cId="3809428704" sldId="268"/>
            <ac:spMk id="27" creationId="{D4479EF9-3012-3964-A9D0-6C16A3C05105}"/>
          </ac:spMkLst>
        </pc:spChg>
      </pc:sldChg>
      <pc:sldChg chg="modSp mod">
        <pc:chgData name="Lars Tennbakk Bockman" userId="5a235df0-e381-4c4c-99ce-24b4b21fb9d1" providerId="ADAL" clId="{ABAA80D7-86DB-4885-A91A-0E4A582610D4}" dt="2025-02-06T14:37:12.927" v="2904" actId="20577"/>
        <pc:sldMkLst>
          <pc:docMk/>
          <pc:sldMk cId="964345901" sldId="269"/>
        </pc:sldMkLst>
        <pc:spChg chg="mod">
          <ac:chgData name="Lars Tennbakk Bockman" userId="5a235df0-e381-4c4c-99ce-24b4b21fb9d1" providerId="ADAL" clId="{ABAA80D7-86DB-4885-A91A-0E4A582610D4}" dt="2025-02-06T14:24:05.981" v="2302" actId="20577"/>
          <ac:spMkLst>
            <pc:docMk/>
            <pc:sldMk cId="964345901" sldId="269"/>
            <ac:spMk id="6" creationId="{98A31114-AE4A-2C3A-5034-C60474D62470}"/>
          </ac:spMkLst>
        </pc:spChg>
        <pc:spChg chg="mod">
          <ac:chgData name="Lars Tennbakk Bockman" userId="5a235df0-e381-4c4c-99ce-24b4b21fb9d1" providerId="ADAL" clId="{ABAA80D7-86DB-4885-A91A-0E4A582610D4}" dt="2025-02-06T09:13:26.173" v="23" actId="20577"/>
          <ac:spMkLst>
            <pc:docMk/>
            <pc:sldMk cId="964345901" sldId="269"/>
            <ac:spMk id="11" creationId="{C9D230B1-551A-0E7A-96AB-ADE59A906758}"/>
          </ac:spMkLst>
        </pc:spChg>
        <pc:spChg chg="mod">
          <ac:chgData name="Lars Tennbakk Bockman" userId="5a235df0-e381-4c4c-99ce-24b4b21fb9d1" providerId="ADAL" clId="{ABAA80D7-86DB-4885-A91A-0E4A582610D4}" dt="2025-02-06T14:37:12.927" v="2904" actId="20577"/>
          <ac:spMkLst>
            <pc:docMk/>
            <pc:sldMk cId="964345901" sldId="269"/>
            <ac:spMk id="15" creationId="{04DCDA78-71F1-811A-A7B3-AF6C80100E58}"/>
          </ac:spMkLst>
        </pc:spChg>
        <pc:picChg chg="mod">
          <ac:chgData name="Lars Tennbakk Bockman" userId="5a235df0-e381-4c4c-99ce-24b4b21fb9d1" providerId="ADAL" clId="{ABAA80D7-86DB-4885-A91A-0E4A582610D4}" dt="2025-02-06T09:26:46.688" v="65" actId="1076"/>
          <ac:picMkLst>
            <pc:docMk/>
            <pc:sldMk cId="964345901" sldId="269"/>
            <ac:picMk id="4" creationId="{F1209CBB-C9AB-BA6E-3FAE-5B8063D6E61B}"/>
          </ac:picMkLst>
        </pc:picChg>
        <pc:picChg chg="mod">
          <ac:chgData name="Lars Tennbakk Bockman" userId="5a235df0-e381-4c4c-99ce-24b4b21fb9d1" providerId="ADAL" clId="{ABAA80D7-86DB-4885-A91A-0E4A582610D4}" dt="2025-02-06T13:56:11.223" v="1013" actId="14826"/>
          <ac:picMkLst>
            <pc:docMk/>
            <pc:sldMk cId="964345901" sldId="269"/>
            <ac:picMk id="9" creationId="{D21B8C53-AA53-A852-4492-9BA4D601B04E}"/>
          </ac:picMkLst>
        </pc:picChg>
        <pc:picChg chg="mod">
          <ac:chgData name="Lars Tennbakk Bockman" userId="5a235df0-e381-4c4c-99ce-24b4b21fb9d1" providerId="ADAL" clId="{ABAA80D7-86DB-4885-A91A-0E4A582610D4}" dt="2025-02-06T09:26:49.352" v="66" actId="1076"/>
          <ac:picMkLst>
            <pc:docMk/>
            <pc:sldMk cId="964345901" sldId="269"/>
            <ac:picMk id="10" creationId="{D388F67E-CBD0-6D61-3BE3-4DCD8FC2400A}"/>
          </ac:picMkLst>
        </pc:picChg>
      </pc:sldChg>
      <pc:sldChg chg="modSp mod">
        <pc:chgData name="Lars Tennbakk Bockman" userId="5a235df0-e381-4c4c-99ce-24b4b21fb9d1" providerId="ADAL" clId="{ABAA80D7-86DB-4885-A91A-0E4A582610D4}" dt="2025-02-06T14:39:32.542" v="2950" actId="20577"/>
        <pc:sldMkLst>
          <pc:docMk/>
          <pc:sldMk cId="4275014000" sldId="270"/>
        </pc:sldMkLst>
        <pc:spChg chg="mod">
          <ac:chgData name="Lars Tennbakk Bockman" userId="5a235df0-e381-4c4c-99ce-24b4b21fb9d1" providerId="ADAL" clId="{ABAA80D7-86DB-4885-A91A-0E4A582610D4}" dt="2025-02-06T09:13:51.852" v="59" actId="20577"/>
          <ac:spMkLst>
            <pc:docMk/>
            <pc:sldMk cId="4275014000" sldId="270"/>
            <ac:spMk id="8" creationId="{9F768446-0AB2-B3E1-3333-88CAAE767719}"/>
          </ac:spMkLst>
        </pc:spChg>
        <pc:spChg chg="mod">
          <ac:chgData name="Lars Tennbakk Bockman" userId="5a235df0-e381-4c4c-99ce-24b4b21fb9d1" providerId="ADAL" clId="{ABAA80D7-86DB-4885-A91A-0E4A582610D4}" dt="2025-02-06T09:13:33.860" v="38" actId="20577"/>
          <ac:spMkLst>
            <pc:docMk/>
            <pc:sldMk cId="4275014000" sldId="270"/>
            <ac:spMk id="11" creationId="{C9D230B1-551A-0E7A-96AB-ADE59A906758}"/>
          </ac:spMkLst>
        </pc:spChg>
        <pc:spChg chg="mod">
          <ac:chgData name="Lars Tennbakk Bockman" userId="5a235df0-e381-4c4c-99ce-24b4b21fb9d1" providerId="ADAL" clId="{ABAA80D7-86DB-4885-A91A-0E4A582610D4}" dt="2025-02-06T14:39:32.542" v="2950" actId="20577"/>
          <ac:spMkLst>
            <pc:docMk/>
            <pc:sldMk cId="4275014000" sldId="270"/>
            <ac:spMk id="14" creationId="{21531C8D-908F-3C5D-76AA-208A0DF8D559}"/>
          </ac:spMkLst>
        </pc:spChg>
        <pc:picChg chg="mod">
          <ac:chgData name="Lars Tennbakk Bockman" userId="5a235df0-e381-4c4c-99ce-24b4b21fb9d1" providerId="ADAL" clId="{ABAA80D7-86DB-4885-A91A-0E4A582610D4}" dt="2025-02-06T09:26:20.395" v="61" actId="14826"/>
          <ac:picMkLst>
            <pc:docMk/>
            <pc:sldMk cId="4275014000" sldId="270"/>
            <ac:picMk id="4" creationId="{333A123B-CC7B-438C-45B1-FD90C4A986EA}"/>
          </ac:picMkLst>
        </pc:picChg>
        <pc:picChg chg="mod">
          <ac:chgData name="Lars Tennbakk Bockman" userId="5a235df0-e381-4c4c-99ce-24b4b21fb9d1" providerId="ADAL" clId="{ABAA80D7-86DB-4885-A91A-0E4A582610D4}" dt="2025-02-06T13:56:39.291" v="1020" actId="14826"/>
          <ac:picMkLst>
            <pc:docMk/>
            <pc:sldMk cId="4275014000" sldId="270"/>
            <ac:picMk id="5" creationId="{1FC70556-B41D-FA15-EDBD-21B7105AEC8B}"/>
          </ac:picMkLst>
        </pc:picChg>
        <pc:picChg chg="mod">
          <ac:chgData name="Lars Tennbakk Bockman" userId="5a235df0-e381-4c4c-99ce-24b4b21fb9d1" providerId="ADAL" clId="{ABAA80D7-86DB-4885-A91A-0E4A582610D4}" dt="2025-02-06T09:26:25.144" v="62" actId="14826"/>
          <ac:picMkLst>
            <pc:docMk/>
            <pc:sldMk cId="4275014000" sldId="270"/>
            <ac:picMk id="6" creationId="{E247D54D-3951-79FF-87AE-26509570666F}"/>
          </ac:picMkLst>
        </pc:picChg>
      </pc:sldChg>
      <pc:sldChg chg="addSp delSp modSp mod">
        <pc:chgData name="Lars Tennbakk Bockman" userId="5a235df0-e381-4c4c-99ce-24b4b21fb9d1" providerId="ADAL" clId="{ABAA80D7-86DB-4885-A91A-0E4A582610D4}" dt="2025-02-07T12:55:21.185" v="6385" actId="113"/>
        <pc:sldMkLst>
          <pc:docMk/>
          <pc:sldMk cId="4169780862" sldId="274"/>
        </pc:sldMkLst>
        <pc:graphicFrameChg chg="add mod modGraphic">
          <ac:chgData name="Lars Tennbakk Bockman" userId="5a235df0-e381-4c4c-99ce-24b4b21fb9d1" providerId="ADAL" clId="{ABAA80D7-86DB-4885-A91A-0E4A582610D4}" dt="2025-02-07T12:54:09.218" v="6361" actId="113"/>
          <ac:graphicFrameMkLst>
            <pc:docMk/>
            <pc:sldMk cId="4169780862" sldId="274"/>
            <ac:graphicFrameMk id="6" creationId="{5F8EC7D7-FE79-3271-7233-E8E4A9C9C7EE}"/>
          </ac:graphicFrameMkLst>
        </pc:graphicFrameChg>
      </pc:sldChg>
      <pc:sldChg chg="modSp mod">
        <pc:chgData name="Lars Tennbakk Bockman" userId="5a235df0-e381-4c4c-99ce-24b4b21fb9d1" providerId="ADAL" clId="{ABAA80D7-86DB-4885-A91A-0E4A582610D4}" dt="2025-02-06T14:39:56.438" v="2954" actId="14100"/>
        <pc:sldMkLst>
          <pc:docMk/>
          <pc:sldMk cId="1400664593" sldId="275"/>
        </pc:sldMkLst>
        <pc:spChg chg="mod">
          <ac:chgData name="Lars Tennbakk Bockman" userId="5a235df0-e381-4c4c-99ce-24b4b21fb9d1" providerId="ADAL" clId="{ABAA80D7-86DB-4885-A91A-0E4A582610D4}" dt="2025-02-06T14:19:21.359" v="1835" actId="20577"/>
          <ac:spMkLst>
            <pc:docMk/>
            <pc:sldMk cId="1400664593" sldId="275"/>
            <ac:spMk id="13" creationId="{D3816D81-2F0C-5C31-0215-8B391B6646ED}"/>
          </ac:spMkLst>
        </pc:spChg>
        <pc:picChg chg="mod">
          <ac:chgData name="Lars Tennbakk Bockman" userId="5a235df0-e381-4c4c-99ce-24b4b21fb9d1" providerId="ADAL" clId="{ABAA80D7-86DB-4885-A91A-0E4A582610D4}" dt="2025-02-06T09:26:11.929" v="60" actId="14826"/>
          <ac:picMkLst>
            <pc:docMk/>
            <pc:sldMk cId="1400664593" sldId="275"/>
            <ac:picMk id="10" creationId="{EDD2A1DB-03B4-A540-E2CF-68A1C96AF138}"/>
          </ac:picMkLst>
        </pc:picChg>
        <pc:picChg chg="mod">
          <ac:chgData name="Lars Tennbakk Bockman" userId="5a235df0-e381-4c4c-99ce-24b4b21fb9d1" providerId="ADAL" clId="{ABAA80D7-86DB-4885-A91A-0E4A582610D4}" dt="2025-02-06T09:27:18.821" v="82" actId="14826"/>
          <ac:picMkLst>
            <pc:docMk/>
            <pc:sldMk cId="1400664593" sldId="275"/>
            <ac:picMk id="12" creationId="{475A88D7-D294-62B2-8755-82110AB84DD1}"/>
          </ac:picMkLst>
        </pc:picChg>
        <pc:picChg chg="mod">
          <ac:chgData name="Lars Tennbakk Bockman" userId="5a235df0-e381-4c4c-99ce-24b4b21fb9d1" providerId="ADAL" clId="{ABAA80D7-86DB-4885-A91A-0E4A582610D4}" dt="2025-02-06T09:27:21.728" v="83" actId="1076"/>
          <ac:picMkLst>
            <pc:docMk/>
            <pc:sldMk cId="1400664593" sldId="275"/>
            <ac:picMk id="1026" creationId="{A3000F04-E780-98BA-A9F5-FBB1AD330F20}"/>
          </ac:picMkLst>
        </pc:picChg>
        <pc:picChg chg="mod">
          <ac:chgData name="Lars Tennbakk Bockman" userId="5a235df0-e381-4c4c-99ce-24b4b21fb9d1" providerId="ADAL" clId="{ABAA80D7-86DB-4885-A91A-0E4A582610D4}" dt="2025-02-06T14:39:56.438" v="2954" actId="14100"/>
          <ac:picMkLst>
            <pc:docMk/>
            <pc:sldMk cId="1400664593" sldId="275"/>
            <ac:picMk id="1028" creationId="{7BD95610-1C21-5E69-CD9D-A797BAA38B11}"/>
          </ac:picMkLst>
        </pc:picChg>
        <pc:picChg chg="mod">
          <ac:chgData name="Lars Tennbakk Bockman" userId="5a235df0-e381-4c4c-99ce-24b4b21fb9d1" providerId="ADAL" clId="{ABAA80D7-86DB-4885-A91A-0E4A582610D4}" dt="2025-02-06T09:27:26.392" v="85" actId="1076"/>
          <ac:picMkLst>
            <pc:docMk/>
            <pc:sldMk cId="1400664593" sldId="275"/>
            <ac:picMk id="1030" creationId="{ACF3AF7C-A2DE-81CC-E858-516CB40827CE}"/>
          </ac:picMkLst>
        </pc:picChg>
        <pc:picChg chg="mod">
          <ac:chgData name="Lars Tennbakk Bockman" userId="5a235df0-e381-4c4c-99ce-24b4b21fb9d1" providerId="ADAL" clId="{ABAA80D7-86DB-4885-A91A-0E4A582610D4}" dt="2025-02-06T09:27:23.231" v="84" actId="1076"/>
          <ac:picMkLst>
            <pc:docMk/>
            <pc:sldMk cId="1400664593" sldId="275"/>
            <ac:picMk id="1032" creationId="{8EF0B950-C72C-D5A3-948A-06A2609A5B96}"/>
          </ac:picMkLst>
        </pc:picChg>
        <pc:picChg chg="mod">
          <ac:chgData name="Lars Tennbakk Bockman" userId="5a235df0-e381-4c4c-99ce-24b4b21fb9d1" providerId="ADAL" clId="{ABAA80D7-86DB-4885-A91A-0E4A582610D4}" dt="2025-02-06T14:39:48.078" v="2951" actId="1076"/>
          <ac:picMkLst>
            <pc:docMk/>
            <pc:sldMk cId="1400664593" sldId="275"/>
            <ac:picMk id="1034" creationId="{93E8EE5C-F00F-9D19-55F8-6D26C9255442}"/>
          </ac:picMkLst>
        </pc:picChg>
      </pc:sldChg>
      <pc:sldChg chg="modSp">
        <pc:chgData name="Lars Tennbakk Bockman" userId="5a235df0-e381-4c4c-99ce-24b4b21fb9d1" providerId="ADAL" clId="{ABAA80D7-86DB-4885-A91A-0E4A582610D4}" dt="2025-02-07T12:58:04.949" v="6386" actId="14826"/>
        <pc:sldMkLst>
          <pc:docMk/>
          <pc:sldMk cId="3048309862" sldId="277"/>
        </pc:sldMkLst>
        <pc:picChg chg="mod">
          <ac:chgData name="Lars Tennbakk Bockman" userId="5a235df0-e381-4c4c-99ce-24b4b21fb9d1" providerId="ADAL" clId="{ABAA80D7-86DB-4885-A91A-0E4A582610D4}" dt="2025-02-07T12:58:04.949" v="6386" actId="14826"/>
          <ac:picMkLst>
            <pc:docMk/>
            <pc:sldMk cId="3048309862" sldId="277"/>
            <ac:picMk id="15" creationId="{E74EA589-72EA-AA47-0E44-BCAE8A4D908E}"/>
          </ac:picMkLst>
        </pc:picChg>
      </pc:sldChg>
      <pc:sldChg chg="del">
        <pc:chgData name="Lars Tennbakk Bockman" userId="5a235df0-e381-4c4c-99ce-24b4b21fb9d1" providerId="ADAL" clId="{ABAA80D7-86DB-4885-A91A-0E4A582610D4}" dt="2025-02-07T08:36:50.925" v="6250" actId="47"/>
        <pc:sldMkLst>
          <pc:docMk/>
          <pc:sldMk cId="684640037" sldId="278"/>
        </pc:sldMkLst>
      </pc:sldChg>
      <pc:sldChg chg="del">
        <pc:chgData name="Lars Tennbakk Bockman" userId="5a235df0-e381-4c4c-99ce-24b4b21fb9d1" providerId="ADAL" clId="{ABAA80D7-86DB-4885-A91A-0E4A582610D4}" dt="2025-02-07T08:36:50.925" v="6250" actId="47"/>
        <pc:sldMkLst>
          <pc:docMk/>
          <pc:sldMk cId="575956772" sldId="279"/>
        </pc:sldMkLst>
      </pc:sldChg>
      <pc:sldChg chg="del">
        <pc:chgData name="Lars Tennbakk Bockman" userId="5a235df0-e381-4c4c-99ce-24b4b21fb9d1" providerId="ADAL" clId="{ABAA80D7-86DB-4885-A91A-0E4A582610D4}" dt="2025-02-07T08:36:58.327" v="6251" actId="47"/>
        <pc:sldMkLst>
          <pc:docMk/>
          <pc:sldMk cId="2882603907" sldId="280"/>
        </pc:sldMkLst>
      </pc:sldChg>
      <pc:sldChg chg="del">
        <pc:chgData name="Lars Tennbakk Bockman" userId="5a235df0-e381-4c4c-99ce-24b4b21fb9d1" providerId="ADAL" clId="{ABAA80D7-86DB-4885-A91A-0E4A582610D4}" dt="2025-02-07T08:36:58.327" v="6251" actId="47"/>
        <pc:sldMkLst>
          <pc:docMk/>
          <pc:sldMk cId="904067555" sldId="281"/>
        </pc:sldMkLst>
      </pc:sldChg>
      <pc:sldChg chg="del">
        <pc:chgData name="Lars Tennbakk Bockman" userId="5a235df0-e381-4c4c-99ce-24b4b21fb9d1" providerId="ADAL" clId="{ABAA80D7-86DB-4885-A91A-0E4A582610D4}" dt="2025-02-07T08:36:50.925" v="6250" actId="47"/>
        <pc:sldMkLst>
          <pc:docMk/>
          <pc:sldMk cId="169717518" sldId="282"/>
        </pc:sldMkLst>
      </pc:sldChg>
    </pc:docChg>
  </pc:docChgLst>
  <pc:docChgLst>
    <pc:chgData name="Lars Tennbakk Bockman" userId="5a235df0-e381-4c4c-99ce-24b4b21fb9d1" providerId="ADAL" clId="{A05AB3F1-F083-414B-ACDB-A47E65D9BE65}"/>
    <pc:docChg chg="modSld">
      <pc:chgData name="Lars Tennbakk Bockman" userId="5a235df0-e381-4c4c-99ce-24b4b21fb9d1" providerId="ADAL" clId="{A05AB3F1-F083-414B-ACDB-A47E65D9BE65}" dt="2024-11-04T12:56:53.675" v="228" actId="20577"/>
      <pc:docMkLst>
        <pc:docMk/>
      </pc:docMkLst>
      <pc:sldChg chg="modSp mod">
        <pc:chgData name="Lars Tennbakk Bockman" userId="5a235df0-e381-4c4c-99ce-24b4b21fb9d1" providerId="ADAL" clId="{A05AB3F1-F083-414B-ACDB-A47E65D9BE65}" dt="2024-11-04T12:55:06.176" v="27" actId="20578"/>
        <pc:sldMkLst>
          <pc:docMk/>
          <pc:sldMk cId="3149972175" sldId="261"/>
        </pc:sldMkLst>
      </pc:sldChg>
      <pc:sldChg chg="modSp mod">
        <pc:chgData name="Lars Tennbakk Bockman" userId="5a235df0-e381-4c4c-99ce-24b4b21fb9d1" providerId="ADAL" clId="{A05AB3F1-F083-414B-ACDB-A47E65D9BE65}" dt="2024-11-04T12:55:46.567" v="81" actId="20577"/>
        <pc:sldMkLst>
          <pc:docMk/>
          <pc:sldMk cId="964345901" sldId="269"/>
        </pc:sldMkLst>
      </pc:sldChg>
      <pc:sldChg chg="modSp mod modCm">
        <pc:chgData name="Lars Tennbakk Bockman" userId="5a235df0-e381-4c4c-99ce-24b4b21fb9d1" providerId="ADAL" clId="{A05AB3F1-F083-414B-ACDB-A47E65D9BE65}" dt="2024-11-04T12:56:53.675" v="228" actId="20577"/>
        <pc:sldMkLst>
          <pc:docMk/>
          <pc:sldMk cId="4275014000" sldId="270"/>
        </pc:sldMkLst>
        <pc:extLst>
          <p:ext xmlns:p="http://schemas.openxmlformats.org/presentationml/2006/main" uri="{D6D511B9-2390-475A-947B-AFAB55BFBCF1}">
            <pc226:cmChg xmlns:pc226="http://schemas.microsoft.com/office/powerpoint/2022/06/main/command" chg="mod">
              <pc226:chgData name="Lars Tennbakk Bockman" userId="5a235df0-e381-4c4c-99ce-24b4b21fb9d1" providerId="ADAL" clId="{A05AB3F1-F083-414B-ACDB-A47E65D9BE65}" dt="2024-11-04T12:56:53.675" v="228" actId="20577"/>
              <pc2:cmMkLst xmlns:pc2="http://schemas.microsoft.com/office/powerpoint/2019/9/main/command">
                <pc:docMk/>
                <pc:sldMk cId="4275014000" sldId="270"/>
                <pc2:cmMk id="{5C8E7654-4B40-40DB-A81E-510CDC7753C2}"/>
              </pc2:cmMkLst>
            </pc226:cmChg>
          </p:ext>
        </pc:extLst>
      </pc:sldChg>
    </pc:docChg>
  </pc:docChgLst>
  <pc:docChgLst>
    <pc:chgData name="Lars Tennbakk Bockman" userId="5a235df0-e381-4c4c-99ce-24b4b21fb9d1" providerId="ADAL" clId="{BEBA20C9-0E5E-4395-BCBC-0549F97599C0}"/>
    <pc:docChg chg="modSld">
      <pc:chgData name="Lars Tennbakk Bockman" userId="5a235df0-e381-4c4c-99ce-24b4b21fb9d1" providerId="ADAL" clId="{BEBA20C9-0E5E-4395-BCBC-0549F97599C0}" dt="2024-05-13T07:45:51.413" v="6"/>
      <pc:docMkLst>
        <pc:docMk/>
      </pc:docMkLst>
    </pc:docChg>
  </pc:docChgLst>
  <pc:docChgLst>
    <pc:chgData name="Lars Tennbakk Bockman" userId="5a235df0-e381-4c4c-99ce-24b4b21fb9d1" providerId="ADAL" clId="{4DEB8D85-AF20-4D2D-BADC-997CA91D8BCE}"/>
    <pc:docChg chg="modSld">
      <pc:chgData name="Lars Tennbakk Bockman" userId="5a235df0-e381-4c4c-99ce-24b4b21fb9d1" providerId="ADAL" clId="{4DEB8D85-AF20-4D2D-BADC-997CA91D8BCE}" dt="2024-09-12T11:24:09.756" v="69" actId="20577"/>
      <pc:docMkLst>
        <pc:docMk/>
      </pc:docMkLst>
    </pc:docChg>
  </pc:docChgLst>
  <pc:docChgLst>
    <pc:chgData name="Lars Tennbakk Bockman" userId="S::lars.bockman@fornybarnorge.no::5a235df0-e381-4c4c-99ce-24b4b21fb9d1" providerId="AD" clId="Web-{BAE85A8C-C2C4-873F-9DA4-6AB4D439F0C5}"/>
    <pc:docChg chg="addSld delSld modSld">
      <pc:chgData name="Lars Tennbakk Bockman" userId="S::lars.bockman@fornybarnorge.no::5a235df0-e381-4c4c-99ce-24b4b21fb9d1" providerId="AD" clId="Web-{BAE85A8C-C2C4-873F-9DA4-6AB4D439F0C5}" dt="2024-05-24T14:10:58.800" v="49"/>
      <pc:docMkLst>
        <pc:docMk/>
      </pc:docMkLst>
      <pc:sldChg chg="modSp add del replId">
        <pc:chgData name="Lars Tennbakk Bockman" userId="S::lars.bockman@fornybarnorge.no::5a235df0-e381-4c4c-99ce-24b4b21fb9d1" providerId="AD" clId="Web-{BAE85A8C-C2C4-873F-9DA4-6AB4D439F0C5}" dt="2024-05-24T14:06:18.931" v="13"/>
        <pc:sldMkLst>
          <pc:docMk/>
          <pc:sldMk cId="120293974" sldId="276"/>
        </pc:sldMkLst>
      </pc:sldChg>
      <pc:sldChg chg="addSp delSp modSp add replId">
        <pc:chgData name="Lars Tennbakk Bockman" userId="S::lars.bockman@fornybarnorge.no::5a235df0-e381-4c4c-99ce-24b4b21fb9d1" providerId="AD" clId="Web-{BAE85A8C-C2C4-873F-9DA4-6AB4D439F0C5}" dt="2024-05-24T14:10:58.800" v="49"/>
        <pc:sldMkLst>
          <pc:docMk/>
          <pc:sldMk cId="4123918659" sldId="276"/>
        </pc:sldMkLst>
      </pc:sldChg>
    </pc:docChg>
  </pc:docChgLst>
  <pc:docChgLst>
    <pc:chgData name="Iselin Ekeli Rønningsbakk" userId="187300ae-9cb6-416d-8a94-664ca977a24d" providerId="ADAL" clId="{750B9AAA-1068-463C-A928-621951E880E7}"/>
    <pc:docChg chg="modSld">
      <pc:chgData name="Iselin Ekeli Rønningsbakk" userId="187300ae-9cb6-416d-8a94-664ca977a24d" providerId="ADAL" clId="{750B9AAA-1068-463C-A928-621951E880E7}" dt="2024-05-08T11:20:58.602" v="1158" actId="20577"/>
      <pc:docMkLst>
        <pc:docMk/>
      </pc:docMkLst>
    </pc:docChg>
  </pc:docChgLst>
  <pc:docChgLst>
    <pc:chgData name="Iselin Ekeli Rønningsbakk" userId="187300ae-9cb6-416d-8a94-664ca977a24d" providerId="ADAL" clId="{DE459365-3FDD-4A9E-A6B8-E759B173B681}"/>
    <pc:docChg chg="modSld">
      <pc:chgData name="Iselin Ekeli Rønningsbakk" userId="187300ae-9cb6-416d-8a94-664ca977a24d" providerId="ADAL" clId="{DE459365-3FDD-4A9E-A6B8-E759B173B681}" dt="2025-01-06T09:10:55.786" v="179" actId="20577"/>
      <pc:docMkLst>
        <pc:docMk/>
      </pc:docMkLst>
      <pc:sldChg chg="modSp mod">
        <pc:chgData name="Iselin Ekeli Rønningsbakk" userId="187300ae-9cb6-416d-8a94-664ca977a24d" providerId="ADAL" clId="{DE459365-3FDD-4A9E-A6B8-E759B173B681}" dt="2025-01-06T09:10:55.786" v="179" actId="20577"/>
        <pc:sldMkLst>
          <pc:docMk/>
          <pc:sldMk cId="575956772" sldId="279"/>
        </pc:sldMkLst>
      </pc:sldChg>
    </pc:docChg>
  </pc:docChgLst>
  <pc:docChgLst>
    <pc:chgData name="Iselin Ekeli Rønningsbakk" userId="187300ae-9cb6-416d-8a94-664ca977a24d" providerId="ADAL" clId="{03106EBE-8068-434C-8316-2B0B6F76A800}"/>
    <pc:docChg chg="custSel modSld">
      <pc:chgData name="Iselin Ekeli Rønningsbakk" userId="187300ae-9cb6-416d-8a94-664ca977a24d" providerId="ADAL" clId="{03106EBE-8068-434C-8316-2B0B6F76A800}" dt="2024-06-11T07:46:16.178" v="1457" actId="6549"/>
      <pc:docMkLst>
        <pc:docMk/>
      </pc:docMkLst>
    </pc:docChg>
  </pc:docChgLst>
  <pc:docChgLst>
    <pc:chgData name="Lars Tennbakk Bockman" userId="5a235df0-e381-4c4c-99ce-24b4b21fb9d1" providerId="ADAL" clId="{3ED9F7A5-96D9-44A5-9870-C0363E0E136F}"/>
    <pc:docChg chg="undo custSel modSld">
      <pc:chgData name="Lars Tennbakk Bockman" userId="5a235df0-e381-4c4c-99ce-24b4b21fb9d1" providerId="ADAL" clId="{3ED9F7A5-96D9-44A5-9870-C0363E0E136F}" dt="2025-03-04T13:12:32.546" v="5161" actId="20577"/>
      <pc:docMkLst>
        <pc:docMk/>
      </pc:docMkLst>
      <pc:sldChg chg="modSp mod">
        <pc:chgData name="Lars Tennbakk Bockman" userId="5a235df0-e381-4c4c-99ce-24b4b21fb9d1" providerId="ADAL" clId="{3ED9F7A5-96D9-44A5-9870-C0363E0E136F}" dt="2025-03-04T11:24:04.419" v="1656" actId="20577"/>
        <pc:sldMkLst>
          <pc:docMk/>
          <pc:sldMk cId="3149972175" sldId="261"/>
        </pc:sldMkLst>
        <pc:spChg chg="mod">
          <ac:chgData name="Lars Tennbakk Bockman" userId="5a235df0-e381-4c4c-99ce-24b4b21fb9d1" providerId="ADAL" clId="{3ED9F7A5-96D9-44A5-9870-C0363E0E136F}" dt="2025-03-03T15:44:59.571" v="142" actId="20577"/>
          <ac:spMkLst>
            <pc:docMk/>
            <pc:sldMk cId="3149972175" sldId="261"/>
            <ac:spMk id="2" creationId="{EB808BFC-B71A-C9E5-5827-2A0376474563}"/>
          </ac:spMkLst>
        </pc:spChg>
        <pc:spChg chg="mod">
          <ac:chgData name="Lars Tennbakk Bockman" userId="5a235df0-e381-4c4c-99ce-24b4b21fb9d1" providerId="ADAL" clId="{3ED9F7A5-96D9-44A5-9870-C0363E0E136F}" dt="2025-03-04T11:24:04.419" v="1656" actId="20577"/>
          <ac:spMkLst>
            <pc:docMk/>
            <pc:sldMk cId="3149972175" sldId="261"/>
            <ac:spMk id="15" creationId="{71CD328A-FCBF-98DB-A3A2-36A13A7E9980}"/>
          </ac:spMkLst>
        </pc:spChg>
      </pc:sldChg>
      <pc:sldChg chg="addSp delSp modSp mod">
        <pc:chgData name="Lars Tennbakk Bockman" userId="5a235df0-e381-4c4c-99ce-24b4b21fb9d1" providerId="ADAL" clId="{3ED9F7A5-96D9-44A5-9870-C0363E0E136F}" dt="2025-03-04T12:12:44.600" v="2261" actId="113"/>
        <pc:sldMkLst>
          <pc:docMk/>
          <pc:sldMk cId="362544367" sldId="264"/>
        </pc:sldMkLst>
        <pc:spChg chg="mod">
          <ac:chgData name="Lars Tennbakk Bockman" userId="5a235df0-e381-4c4c-99ce-24b4b21fb9d1" providerId="ADAL" clId="{3ED9F7A5-96D9-44A5-9870-C0363E0E136F}" dt="2025-03-04T12:12:08.450" v="2232" actId="14100"/>
          <ac:spMkLst>
            <pc:docMk/>
            <pc:sldMk cId="362544367" sldId="264"/>
            <ac:spMk id="6" creationId="{43281BD6-61B8-4DBB-3558-178E91D04924}"/>
          </ac:spMkLst>
        </pc:spChg>
        <pc:spChg chg="mod">
          <ac:chgData name="Lars Tennbakk Bockman" userId="5a235df0-e381-4c4c-99ce-24b4b21fb9d1" providerId="ADAL" clId="{3ED9F7A5-96D9-44A5-9870-C0363E0E136F}" dt="2025-03-04T12:12:15.396" v="2233" actId="14100"/>
          <ac:spMkLst>
            <pc:docMk/>
            <pc:sldMk cId="362544367" sldId="264"/>
            <ac:spMk id="11" creationId="{08E89037-2C15-7BA4-E420-580B2668841D}"/>
          </ac:spMkLst>
        </pc:spChg>
        <pc:graphicFrameChg chg="add mod modGraphic">
          <ac:chgData name="Lars Tennbakk Bockman" userId="5a235df0-e381-4c4c-99ce-24b4b21fb9d1" providerId="ADAL" clId="{3ED9F7A5-96D9-44A5-9870-C0363E0E136F}" dt="2025-03-04T12:12:44.600" v="2261" actId="113"/>
          <ac:graphicFrameMkLst>
            <pc:docMk/>
            <pc:sldMk cId="362544367" sldId="264"/>
            <ac:graphicFrameMk id="5" creationId="{7A7270EF-E557-E6D9-AF2C-E9365D8035FC}"/>
          </ac:graphicFrameMkLst>
        </pc:graphicFrameChg>
      </pc:sldChg>
      <pc:sldChg chg="modSp mod">
        <pc:chgData name="Lars Tennbakk Bockman" userId="5a235df0-e381-4c4c-99ce-24b4b21fb9d1" providerId="ADAL" clId="{3ED9F7A5-96D9-44A5-9870-C0363E0E136F}" dt="2025-03-04T13:12:32.546" v="5161" actId="20577"/>
        <pc:sldMkLst>
          <pc:docMk/>
          <pc:sldMk cId="3809428704" sldId="268"/>
        </pc:sldMkLst>
        <pc:spChg chg="mod">
          <ac:chgData name="Lars Tennbakk Bockman" userId="5a235df0-e381-4c4c-99ce-24b4b21fb9d1" providerId="ADAL" clId="{3ED9F7A5-96D9-44A5-9870-C0363E0E136F}" dt="2025-03-04T13:12:32.546" v="5161" actId="20577"/>
          <ac:spMkLst>
            <pc:docMk/>
            <pc:sldMk cId="3809428704" sldId="268"/>
            <ac:spMk id="2" creationId="{E225F7EA-99E6-543D-3D1D-6EACC2C8D6E1}"/>
          </ac:spMkLst>
        </pc:spChg>
        <pc:spChg chg="mod">
          <ac:chgData name="Lars Tennbakk Bockman" userId="5a235df0-e381-4c4c-99ce-24b4b21fb9d1" providerId="ADAL" clId="{3ED9F7A5-96D9-44A5-9870-C0363E0E136F}" dt="2025-03-04T12:58:40.791" v="4051" actId="20577"/>
          <ac:spMkLst>
            <pc:docMk/>
            <pc:sldMk cId="3809428704" sldId="268"/>
            <ac:spMk id="3" creationId="{8A3EFEB1-D7F7-A46E-7DED-AE462CEAB1A0}"/>
          </ac:spMkLst>
        </pc:spChg>
      </pc:sldChg>
      <pc:sldChg chg="modSp mod">
        <pc:chgData name="Lars Tennbakk Bockman" userId="5a235df0-e381-4c4c-99ce-24b4b21fb9d1" providerId="ADAL" clId="{3ED9F7A5-96D9-44A5-9870-C0363E0E136F}" dt="2025-03-04T11:27:31.317" v="1949" actId="20577"/>
        <pc:sldMkLst>
          <pc:docMk/>
          <pc:sldMk cId="964345901" sldId="269"/>
        </pc:sldMkLst>
        <pc:spChg chg="mod">
          <ac:chgData name="Lars Tennbakk Bockman" userId="5a235df0-e381-4c4c-99ce-24b4b21fb9d1" providerId="ADAL" clId="{3ED9F7A5-96D9-44A5-9870-C0363E0E136F}" dt="2025-03-03T15:40:45.859" v="24" actId="20577"/>
          <ac:spMkLst>
            <pc:docMk/>
            <pc:sldMk cId="964345901" sldId="269"/>
            <ac:spMk id="6" creationId="{98A31114-AE4A-2C3A-5034-C60474D62470}"/>
          </ac:spMkLst>
        </pc:spChg>
        <pc:spChg chg="mod">
          <ac:chgData name="Lars Tennbakk Bockman" userId="5a235df0-e381-4c4c-99ce-24b4b21fb9d1" providerId="ADAL" clId="{3ED9F7A5-96D9-44A5-9870-C0363E0E136F}" dt="2025-03-03T15:44:51.313" v="126" actId="20577"/>
          <ac:spMkLst>
            <pc:docMk/>
            <pc:sldMk cId="964345901" sldId="269"/>
            <ac:spMk id="11" creationId="{C9D230B1-551A-0E7A-96AB-ADE59A906758}"/>
          </ac:spMkLst>
        </pc:spChg>
        <pc:spChg chg="mod">
          <ac:chgData name="Lars Tennbakk Bockman" userId="5a235df0-e381-4c4c-99ce-24b4b21fb9d1" providerId="ADAL" clId="{3ED9F7A5-96D9-44A5-9870-C0363E0E136F}" dt="2025-03-04T11:27:31.317" v="1949" actId="20577"/>
          <ac:spMkLst>
            <pc:docMk/>
            <pc:sldMk cId="964345901" sldId="269"/>
            <ac:spMk id="15" creationId="{04DCDA78-71F1-811A-A7B3-AF6C80100E58}"/>
          </ac:spMkLst>
        </pc:spChg>
        <pc:picChg chg="mod">
          <ac:chgData name="Lars Tennbakk Bockman" userId="5a235df0-e381-4c4c-99ce-24b4b21fb9d1" providerId="ADAL" clId="{3ED9F7A5-96D9-44A5-9870-C0363E0E136F}" dt="2025-03-03T15:39:52.862" v="1" actId="1076"/>
          <ac:picMkLst>
            <pc:docMk/>
            <pc:sldMk cId="964345901" sldId="269"/>
            <ac:picMk id="4" creationId="{F1209CBB-C9AB-BA6E-3FAE-5B8063D6E61B}"/>
          </ac:picMkLst>
        </pc:picChg>
        <pc:picChg chg="mod">
          <ac:chgData name="Lars Tennbakk Bockman" userId="5a235df0-e381-4c4c-99ce-24b4b21fb9d1" providerId="ADAL" clId="{3ED9F7A5-96D9-44A5-9870-C0363E0E136F}" dt="2025-03-03T15:40:31.842" v="4" actId="14826"/>
          <ac:picMkLst>
            <pc:docMk/>
            <pc:sldMk cId="964345901" sldId="269"/>
            <ac:picMk id="9" creationId="{D21B8C53-AA53-A852-4492-9BA4D601B04E}"/>
          </ac:picMkLst>
        </pc:picChg>
        <pc:picChg chg="mod">
          <ac:chgData name="Lars Tennbakk Bockman" userId="5a235df0-e381-4c4c-99ce-24b4b21fb9d1" providerId="ADAL" clId="{3ED9F7A5-96D9-44A5-9870-C0363E0E136F}" dt="2025-03-03T15:40:08.271" v="3" actId="14826"/>
          <ac:picMkLst>
            <pc:docMk/>
            <pc:sldMk cId="964345901" sldId="269"/>
            <ac:picMk id="10" creationId="{D388F67E-CBD0-6D61-3BE3-4DCD8FC2400A}"/>
          </ac:picMkLst>
        </pc:picChg>
      </pc:sldChg>
      <pc:sldChg chg="modSp mod">
        <pc:chgData name="Lars Tennbakk Bockman" userId="5a235df0-e381-4c4c-99ce-24b4b21fb9d1" providerId="ADAL" clId="{3ED9F7A5-96D9-44A5-9870-C0363E0E136F}" dt="2025-03-03T15:44:55.873" v="135" actId="20577"/>
        <pc:sldMkLst>
          <pc:docMk/>
          <pc:sldMk cId="4275014000" sldId="270"/>
        </pc:sldMkLst>
        <pc:spChg chg="mod">
          <ac:chgData name="Lars Tennbakk Bockman" userId="5a235df0-e381-4c4c-99ce-24b4b21fb9d1" providerId="ADAL" clId="{3ED9F7A5-96D9-44A5-9870-C0363E0E136F}" dt="2025-03-03T15:41:17.851" v="41" actId="20577"/>
          <ac:spMkLst>
            <pc:docMk/>
            <pc:sldMk cId="4275014000" sldId="270"/>
            <ac:spMk id="8" creationId="{9F768446-0AB2-B3E1-3333-88CAAE767719}"/>
          </ac:spMkLst>
        </pc:spChg>
        <pc:spChg chg="mod">
          <ac:chgData name="Lars Tennbakk Bockman" userId="5a235df0-e381-4c4c-99ce-24b4b21fb9d1" providerId="ADAL" clId="{3ED9F7A5-96D9-44A5-9870-C0363E0E136F}" dt="2025-03-03T15:44:55.873" v="135" actId="20577"/>
          <ac:spMkLst>
            <pc:docMk/>
            <pc:sldMk cId="4275014000" sldId="270"/>
            <ac:spMk id="11" creationId="{C9D230B1-551A-0E7A-96AB-ADE59A906758}"/>
          </ac:spMkLst>
        </pc:spChg>
        <pc:picChg chg="mod">
          <ac:chgData name="Lars Tennbakk Bockman" userId="5a235df0-e381-4c4c-99ce-24b4b21fb9d1" providerId="ADAL" clId="{3ED9F7A5-96D9-44A5-9870-C0363E0E136F}" dt="2025-03-03T15:41:29.676" v="42" actId="14826"/>
          <ac:picMkLst>
            <pc:docMk/>
            <pc:sldMk cId="4275014000" sldId="270"/>
            <ac:picMk id="4" creationId="{333A123B-CC7B-438C-45B1-FD90C4A986EA}"/>
          </ac:picMkLst>
        </pc:picChg>
        <pc:picChg chg="mod">
          <ac:chgData name="Lars Tennbakk Bockman" userId="5a235df0-e381-4c4c-99ce-24b4b21fb9d1" providerId="ADAL" clId="{3ED9F7A5-96D9-44A5-9870-C0363E0E136F}" dt="2025-03-03T15:41:10.924" v="25" actId="14826"/>
          <ac:picMkLst>
            <pc:docMk/>
            <pc:sldMk cId="4275014000" sldId="270"/>
            <ac:picMk id="5" creationId="{1FC70556-B41D-FA15-EDBD-21B7105AEC8B}"/>
          </ac:picMkLst>
        </pc:picChg>
        <pc:picChg chg="mod">
          <ac:chgData name="Lars Tennbakk Bockman" userId="5a235df0-e381-4c4c-99ce-24b4b21fb9d1" providerId="ADAL" clId="{3ED9F7A5-96D9-44A5-9870-C0363E0E136F}" dt="2025-03-03T15:41:35.429" v="43" actId="14826"/>
          <ac:picMkLst>
            <pc:docMk/>
            <pc:sldMk cId="4275014000" sldId="270"/>
            <ac:picMk id="6" creationId="{E247D54D-3951-79FF-87AE-26509570666F}"/>
          </ac:picMkLst>
        </pc:picChg>
      </pc:sldChg>
      <pc:sldChg chg="addSp delSp modSp mod">
        <pc:chgData name="Lars Tennbakk Bockman" userId="5a235df0-e381-4c4c-99ce-24b4b21fb9d1" providerId="ADAL" clId="{3ED9F7A5-96D9-44A5-9870-C0363E0E136F}" dt="2025-03-04T12:17:17.194" v="2330" actId="20577"/>
        <pc:sldMkLst>
          <pc:docMk/>
          <pc:sldMk cId="4169780862" sldId="274"/>
        </pc:sldMkLst>
        <pc:graphicFrameChg chg="add mod modGraphic">
          <ac:chgData name="Lars Tennbakk Bockman" userId="5a235df0-e381-4c4c-99ce-24b4b21fb9d1" providerId="ADAL" clId="{3ED9F7A5-96D9-44A5-9870-C0363E0E136F}" dt="2025-03-04T12:15:12.053" v="2295"/>
          <ac:graphicFrameMkLst>
            <pc:docMk/>
            <pc:sldMk cId="4169780862" sldId="274"/>
            <ac:graphicFrameMk id="3" creationId="{66EBE1B5-41E1-64BE-AF06-C54A67111AFA}"/>
          </ac:graphicFrameMkLst>
        </pc:graphicFrameChg>
        <pc:graphicFrameChg chg="mod">
          <ac:chgData name="Lars Tennbakk Bockman" userId="5a235df0-e381-4c4c-99ce-24b4b21fb9d1" providerId="ADAL" clId="{3ED9F7A5-96D9-44A5-9870-C0363E0E136F}" dt="2025-03-04T12:13:13.915" v="2263" actId="1076"/>
          <ac:graphicFrameMkLst>
            <pc:docMk/>
            <pc:sldMk cId="4169780862" sldId="274"/>
            <ac:graphicFrameMk id="6" creationId="{5F8EC7D7-FE79-3271-7233-E8E4A9C9C7EE}"/>
          </ac:graphicFrameMkLst>
        </pc:graphicFrameChg>
        <pc:graphicFrameChg chg="add mod modGraphic">
          <ac:chgData name="Lars Tennbakk Bockman" userId="5a235df0-e381-4c4c-99ce-24b4b21fb9d1" providerId="ADAL" clId="{3ED9F7A5-96D9-44A5-9870-C0363E0E136F}" dt="2025-03-04T12:17:17.194" v="2330" actId="20577"/>
          <ac:graphicFrameMkLst>
            <pc:docMk/>
            <pc:sldMk cId="4169780862" sldId="274"/>
            <ac:graphicFrameMk id="8" creationId="{6E0BA0D4-A496-8A83-04E4-05D137413797}"/>
          </ac:graphicFrameMkLst>
        </pc:graphicFrameChg>
      </pc:sldChg>
      <pc:sldChg chg="modSp mod">
        <pc:chgData name="Lars Tennbakk Bockman" userId="5a235df0-e381-4c4c-99ce-24b4b21fb9d1" providerId="ADAL" clId="{3ED9F7A5-96D9-44A5-9870-C0363E0E136F}" dt="2025-03-04T12:11:25.256" v="2226" actId="20577"/>
        <pc:sldMkLst>
          <pc:docMk/>
          <pc:sldMk cId="1400664593" sldId="275"/>
        </pc:sldMkLst>
        <pc:spChg chg="mod">
          <ac:chgData name="Lars Tennbakk Bockman" userId="5a235df0-e381-4c4c-99ce-24b4b21fb9d1" providerId="ADAL" clId="{3ED9F7A5-96D9-44A5-9870-C0363E0E136F}" dt="2025-03-04T12:11:25.256" v="2226" actId="20577"/>
          <ac:spMkLst>
            <pc:docMk/>
            <pc:sldMk cId="1400664593" sldId="275"/>
            <ac:spMk id="13" creationId="{D3816D81-2F0C-5C31-0215-8B391B6646ED}"/>
          </ac:spMkLst>
        </pc:spChg>
        <pc:picChg chg="mod">
          <ac:chgData name="Lars Tennbakk Bockman" userId="5a235df0-e381-4c4c-99ce-24b4b21fb9d1" providerId="ADAL" clId="{3ED9F7A5-96D9-44A5-9870-C0363E0E136F}" dt="2025-03-03T15:41:52.081" v="45" actId="14826"/>
          <ac:picMkLst>
            <pc:docMk/>
            <pc:sldMk cId="1400664593" sldId="275"/>
            <ac:picMk id="10" creationId="{EDD2A1DB-03B4-A540-E2CF-68A1C96AF138}"/>
          </ac:picMkLst>
        </pc:picChg>
        <pc:picChg chg="mod">
          <ac:chgData name="Lars Tennbakk Bockman" userId="5a235df0-e381-4c4c-99ce-24b4b21fb9d1" providerId="ADAL" clId="{3ED9F7A5-96D9-44A5-9870-C0363E0E136F}" dt="2025-03-03T15:42:07.746" v="46" actId="14826"/>
          <ac:picMkLst>
            <pc:docMk/>
            <pc:sldMk cId="1400664593" sldId="275"/>
            <ac:picMk id="12" creationId="{475A88D7-D294-62B2-8755-82110AB84DD1}"/>
          </ac:picMkLst>
        </pc:picChg>
        <pc:picChg chg="mod">
          <ac:chgData name="Lars Tennbakk Bockman" userId="5a235df0-e381-4c4c-99ce-24b4b21fb9d1" providerId="ADAL" clId="{3ED9F7A5-96D9-44A5-9870-C0363E0E136F}" dt="2025-03-03T15:42:11.115" v="47" actId="1076"/>
          <ac:picMkLst>
            <pc:docMk/>
            <pc:sldMk cId="1400664593" sldId="275"/>
            <ac:picMk id="1026" creationId="{A3000F04-E780-98BA-A9F5-FBB1AD330F20}"/>
          </ac:picMkLst>
        </pc:picChg>
        <pc:picChg chg="mod">
          <ac:chgData name="Lars Tennbakk Bockman" userId="5a235df0-e381-4c4c-99ce-24b4b21fb9d1" providerId="ADAL" clId="{3ED9F7A5-96D9-44A5-9870-C0363E0E136F}" dt="2025-03-03T15:42:24.611" v="54" actId="1076"/>
          <ac:picMkLst>
            <pc:docMk/>
            <pc:sldMk cId="1400664593" sldId="275"/>
            <ac:picMk id="1028" creationId="{7BD95610-1C21-5E69-CD9D-A797BAA38B11}"/>
          </ac:picMkLst>
        </pc:picChg>
        <pc:picChg chg="mod">
          <ac:chgData name="Lars Tennbakk Bockman" userId="5a235df0-e381-4c4c-99ce-24b4b21fb9d1" providerId="ADAL" clId="{3ED9F7A5-96D9-44A5-9870-C0363E0E136F}" dt="2025-03-03T15:42:13.803" v="49" actId="1076"/>
          <ac:picMkLst>
            <pc:docMk/>
            <pc:sldMk cId="1400664593" sldId="275"/>
            <ac:picMk id="1030" creationId="{ACF3AF7C-A2DE-81CC-E858-516CB40827CE}"/>
          </ac:picMkLst>
        </pc:picChg>
        <pc:picChg chg="mod">
          <ac:chgData name="Lars Tennbakk Bockman" userId="5a235df0-e381-4c4c-99ce-24b4b21fb9d1" providerId="ADAL" clId="{3ED9F7A5-96D9-44A5-9870-C0363E0E136F}" dt="2025-03-03T15:42:12.219" v="48" actId="1076"/>
          <ac:picMkLst>
            <pc:docMk/>
            <pc:sldMk cId="1400664593" sldId="275"/>
            <ac:picMk id="1032" creationId="{8EF0B950-C72C-D5A3-948A-06A2609A5B96}"/>
          </ac:picMkLst>
        </pc:picChg>
        <pc:picChg chg="mod">
          <ac:chgData name="Lars Tennbakk Bockman" userId="5a235df0-e381-4c4c-99ce-24b4b21fb9d1" providerId="ADAL" clId="{3ED9F7A5-96D9-44A5-9870-C0363E0E136F}" dt="2025-03-03T15:42:19.260" v="51" actId="1076"/>
          <ac:picMkLst>
            <pc:docMk/>
            <pc:sldMk cId="1400664593" sldId="275"/>
            <ac:picMk id="1034" creationId="{93E8EE5C-F00F-9D19-55F8-6D26C9255442}"/>
          </ac:picMkLst>
        </pc:picChg>
      </pc:sldChg>
      <pc:sldChg chg="modSp">
        <pc:chgData name="Lars Tennbakk Bockman" userId="5a235df0-e381-4c4c-99ce-24b4b21fb9d1" providerId="ADAL" clId="{3ED9F7A5-96D9-44A5-9870-C0363E0E136F}" dt="2025-03-04T12:23:19.422" v="2331" actId="14826"/>
        <pc:sldMkLst>
          <pc:docMk/>
          <pc:sldMk cId="3048309862" sldId="277"/>
        </pc:sldMkLst>
        <pc:picChg chg="mod">
          <ac:chgData name="Lars Tennbakk Bockman" userId="5a235df0-e381-4c4c-99ce-24b4b21fb9d1" providerId="ADAL" clId="{3ED9F7A5-96D9-44A5-9870-C0363E0E136F}" dt="2025-03-04T12:23:19.422" v="2331" actId="14826"/>
          <ac:picMkLst>
            <pc:docMk/>
            <pc:sldMk cId="3048309862" sldId="277"/>
            <ac:picMk id="15" creationId="{E74EA589-72EA-AA47-0E44-BCAE8A4D908E}"/>
          </ac:picMkLst>
        </pc:picChg>
      </pc:sldChg>
    </pc:docChg>
  </pc:docChgLst>
  <pc:docChgLst>
    <pc:chgData name="Iselin Ekeli Rønningsbakk" userId="187300ae-9cb6-416d-8a94-664ca977a24d" providerId="ADAL" clId="{A1986C05-77AD-4C81-B532-0C47688F9970}"/>
    <pc:docChg chg="undo custSel addSld delSld modSld">
      <pc:chgData name="Iselin Ekeli Rønningsbakk" userId="187300ae-9cb6-416d-8a94-664ca977a24d" providerId="ADAL" clId="{A1986C05-77AD-4C81-B532-0C47688F9970}" dt="2024-09-10T14:13:09.831" v="2511" actId="14826"/>
      <pc:docMkLst>
        <pc:docMk/>
      </pc:docMkLst>
      <pc:sldChg chg="modSp mod">
        <pc:chgData name="Iselin Ekeli Rønningsbakk" userId="187300ae-9cb6-416d-8a94-664ca977a24d" providerId="ADAL" clId="{A1986C05-77AD-4C81-B532-0C47688F9970}" dt="2024-09-10T13:06:14.787" v="2508" actId="6549"/>
        <pc:sldMkLst>
          <pc:docMk/>
          <pc:sldMk cId="4148148830" sldId="259"/>
        </pc:sldMkLst>
      </pc:sldChg>
      <pc:sldChg chg="add del setBg">
        <pc:chgData name="Iselin Ekeli Rønningsbakk" userId="187300ae-9cb6-416d-8a94-664ca977a24d" providerId="ADAL" clId="{A1986C05-77AD-4C81-B532-0C47688F9970}" dt="2024-09-10T14:12:34.901" v="2510"/>
        <pc:sldMkLst>
          <pc:docMk/>
          <pc:sldMk cId="1380827816" sldId="262"/>
        </pc:sldMkLst>
      </pc:sldChg>
    </pc:docChg>
  </pc:docChgLst>
  <pc:docChgLst>
    <pc:chgData name="Lars Tennbakk Bockman" userId="S::lars.bockman@fornybarnorge.no::5a235df0-e381-4c4c-99ce-24b4b21fb9d1" providerId="AD" clId="Web-{F9C7C0CC-46DD-594A-BC45-E12A346A37D9}"/>
    <pc:docChg chg="modSld">
      <pc:chgData name="Lars Tennbakk Bockman" userId="S::lars.bockman@fornybarnorge.no::5a235df0-e381-4c4c-99ce-24b4b21fb9d1" providerId="AD" clId="Web-{F9C7C0CC-46DD-594A-BC45-E12A346A37D9}" dt="2024-09-11T08:27:05.964" v="9" actId="20577"/>
      <pc:docMkLst>
        <pc:docMk/>
      </pc:docMkLst>
    </pc:docChg>
  </pc:docChgLst>
  <pc:docChgLst>
    <pc:chgData name="Iselin Ekeli Rønningsbakk" userId="187300ae-9cb6-416d-8a94-664ca977a24d" providerId="ADAL" clId="{834872DE-AAEA-4AA0-9B80-9403F60B732C}"/>
    <pc:docChg chg="custSel addSld delSld modSld">
      <pc:chgData name="Iselin Ekeli Rønningsbakk" userId="187300ae-9cb6-416d-8a94-664ca977a24d" providerId="ADAL" clId="{834872DE-AAEA-4AA0-9B80-9403F60B732C}" dt="2025-03-04T13:34:07.941" v="10" actId="14100"/>
      <pc:docMkLst>
        <pc:docMk/>
      </pc:docMkLst>
      <pc:sldChg chg="add del">
        <pc:chgData name="Iselin Ekeli Rønningsbakk" userId="187300ae-9cb6-416d-8a94-664ca977a24d" providerId="ADAL" clId="{834872DE-AAEA-4AA0-9B80-9403F60B732C}" dt="2025-03-04T13:01:05.642" v="2"/>
        <pc:sldMkLst>
          <pc:docMk/>
          <pc:sldMk cId="1380827816" sldId="262"/>
        </pc:sldMkLst>
      </pc:sldChg>
    </pc:docChg>
  </pc:docChgLst>
  <pc:docChgLst>
    <pc:chgData name="Lars Tennbakk Bockman" userId="S::lars.bockman@fornybarnorge.no::5a235df0-e381-4c4c-99ce-24b4b21fb9d1" providerId="AD" clId="Web-{6A2BD51F-F03C-92F3-41DE-FF0876E0A761}"/>
    <pc:docChg chg="modSld">
      <pc:chgData name="Lars Tennbakk Bockman" userId="S::lars.bockman@fornybarnorge.no::5a235df0-e381-4c4c-99ce-24b4b21fb9d1" providerId="AD" clId="Web-{6A2BD51F-F03C-92F3-41DE-FF0876E0A761}" dt="2024-06-05T13:56:33.387" v="45" actId="20577"/>
      <pc:docMkLst>
        <pc:docMk/>
      </pc:docMkLst>
    </pc:docChg>
  </pc:docChgLst>
</pc:chgInfo>
</file>

<file path=ppt/comments/modernComment_112_F889CE7E.xml><?xml version="1.0" encoding="utf-8"?>
<p188:cmLst xmlns:a="http://schemas.openxmlformats.org/drawingml/2006/main" xmlns:r="http://schemas.openxmlformats.org/officeDocument/2006/relationships" xmlns:p188="http://schemas.microsoft.com/office/powerpoint/2018/8/main">
  <p188:cm id="{AE6A7679-58F6-4164-8DB1-BBA68D86231E}" authorId="{5E3A118B-92BF-8F94-E3E6-76E6F07C9213}" status="resolved" created="2025-03-04T11:46:55.761" startDate="2025-03-04T11:46:55.761" dueDate="2025-03-04T11:46:55.761" assignedTo="{D7921274-A243-60C3-8DB0-D7227B1AC670}" complete="100000" title="@Lars Tennbakk Bockman er denne sliden oppdatert?">
    <pc:sldMkLst xmlns:pc="http://schemas.microsoft.com/office/powerpoint/2013/main/command">
      <pc:docMk/>
      <pc:sldMk cId="4169780862" sldId="274"/>
    </pc:sldMkLst>
    <p188:replyLst>
      <p188:reply id="{2D0C48D1-C13C-4F68-84D2-EB0D0909688E}" authorId="{D7921274-A243-60C3-8DB0-D7227B1AC670}" created="2025-03-04T12:09:39.983">
        <p188:txBody>
          <a:bodyPr/>
          <a:lstStyle/>
          <a:p>
            <a:r>
              <a:rPr lang="nb-NO"/>
              <a:t>Nei</a:t>
            </a:r>
          </a:p>
        </p188:txBody>
      </p188:reply>
      <p188:reply id="{B2FB56AF-7A23-4E2E-9ADD-4DB31EE11E79}" authorId="{D7921274-A243-60C3-8DB0-D7227B1AC670}" created="2025-03-04T12:17:23.249">
        <p188:txBody>
          <a:bodyPr/>
          <a:lstStyle/>
          <a:p>
            <a:r>
              <a:rPr lang="nb-NO"/>
              <a:t>Nå er det oppdatert</a:t>
            </a:r>
          </a:p>
        </p188:txBody>
      </p188:reply>
    </p188:replyLst>
    <p188:txBody>
      <a:bodyPr/>
      <a:lstStyle/>
      <a:p>
        <a:r>
          <a:rPr lang="nb-NO"/>
          <a:t>[@Lars Tennbakk Bockman] er denne sliden oppdatert?</a:t>
        </a:r>
      </a:p>
    </p188:txBody>
    <p188:extLst>
      <p:ext xmlns:p="http://schemas.openxmlformats.org/presentationml/2006/main" uri="{5BB2D875-25FF-4072-B9AC-8F64D62656EB}">
        <p228:taskDetails xmlns:p228="http://schemas.microsoft.com/office/powerpoint/2022/08/main">
          <p228:history>
            <p228:event time="2025-03-04T11:46:55.761" id="{2FBF8253-8E4D-439A-AD54-6FA3CA858103}">
              <p228:atrbtn authorId="{5E3A118B-92BF-8F94-E3E6-76E6F07C9213}"/>
              <p228:anchr>
                <p228:comment id="{AE6A7679-58F6-4164-8DB1-BBA68D86231E}"/>
              </p228:anchr>
              <p228:add/>
            </p228:event>
            <p228:event time="2025-03-04T11:46:55.761" id="{ACD33151-64A9-4ACF-8855-5443D92715A6}">
              <p228:atrbtn authorId="{5E3A118B-92BF-8F94-E3E6-76E6F07C9213}"/>
              <p228:anchr>
                <p228:comment id="{AE6A7679-58F6-4164-8DB1-BBA68D86231E}"/>
              </p228:anchr>
              <p228:asgn authorId="{D7921274-A243-60C3-8DB0-D7227B1AC670}"/>
            </p228:event>
            <p228:event time="2025-03-04T11:46:55.761" id="{488E78C4-FBBF-42B7-8E12-CD6E2196EF54}">
              <p228:atrbtn authorId="{5E3A118B-92BF-8F94-E3E6-76E6F07C9213}"/>
              <p228:anchr>
                <p228:comment id="{AE6A7679-58F6-4164-8DB1-BBA68D86231E}"/>
              </p228:anchr>
              <p228:title val="@Lars Tennbakk Bockman er denne sliden oppdatert?"/>
            </p228:event>
            <p228:event time="2025-03-04T11:46:55.761" id="{0CFCAE69-19B1-4467-8B99-120893DD55F7}">
              <p228:atrbtn authorId="{5E3A118B-92BF-8F94-E3E6-76E6F07C9213}"/>
              <p228:anchr>
                <p228:comment id="{AE6A7679-58F6-4164-8DB1-BBA68D86231E}"/>
              </p228:anchr>
              <p228:date stDt="2025-03-04T11:46:55.761" endDt="2025-03-04T11:46:55.761"/>
            </p228:event>
            <p228:event time="2025-03-04T12:17:24.939" id="{A21A027D-DE29-4ADD-BDF1-8B7E21816510}">
              <p228:atrbtn authorId="{D7921274-A243-60C3-8DB0-D7227B1AC670}"/>
              <p228:anchr>
                <p228:comment id="{00000000-0000-0000-0000-000000000000}"/>
              </p228:anchr>
              <p228:pcntCmplt val="100000"/>
            </p228:event>
          </p228:history>
        </p228:taskDetails>
      </p:ext>
    </p188:extLst>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1" y="0"/>
            <a:ext cx="6177491" cy="490409"/>
          </a:xfrm>
          <a:prstGeom prst="rect">
            <a:avLst/>
          </a:prstGeom>
        </p:spPr>
        <p:txBody>
          <a:bodyPr vert="horz" lIns="133795" tIns="66898" rIns="133795" bIns="66898" rtlCol="0"/>
          <a:lstStyle>
            <a:lvl1pPr algn="l">
              <a:defRPr sz="1800"/>
            </a:lvl1pPr>
          </a:lstStyle>
          <a:p>
            <a:endParaRPr lang="nb-NO"/>
          </a:p>
        </p:txBody>
      </p:sp>
      <p:sp>
        <p:nvSpPr>
          <p:cNvPr id="3" name="Plassholder for dato 2"/>
          <p:cNvSpPr>
            <a:spLocks noGrp="1"/>
          </p:cNvSpPr>
          <p:nvPr>
            <p:ph type="dt" idx="1"/>
          </p:nvPr>
        </p:nvSpPr>
        <p:spPr>
          <a:xfrm>
            <a:off x="8074962" y="0"/>
            <a:ext cx="6177491" cy="490409"/>
          </a:xfrm>
          <a:prstGeom prst="rect">
            <a:avLst/>
          </a:prstGeom>
        </p:spPr>
        <p:txBody>
          <a:bodyPr vert="horz" lIns="133795" tIns="66898" rIns="133795" bIns="66898" rtlCol="0"/>
          <a:lstStyle>
            <a:lvl1pPr algn="r">
              <a:defRPr sz="1800"/>
            </a:lvl1pPr>
          </a:lstStyle>
          <a:p>
            <a:fld id="{01329E2F-4686-4F18-A9A7-D08BDCF84B80}" type="datetimeFigureOut">
              <a:rPr lang="nb-NO" smtClean="0"/>
              <a:t>11.03.2025</a:t>
            </a:fld>
            <a:endParaRPr lang="nb-NO"/>
          </a:p>
        </p:txBody>
      </p:sp>
      <p:sp>
        <p:nvSpPr>
          <p:cNvPr id="4" name="Plassholder for lysbilde 3"/>
          <p:cNvSpPr>
            <a:spLocks noGrp="1" noRot="1" noChangeAspect="1"/>
          </p:cNvSpPr>
          <p:nvPr>
            <p:ph type="sldImg" idx="2"/>
          </p:nvPr>
        </p:nvSpPr>
        <p:spPr>
          <a:xfrm>
            <a:off x="4176713" y="1222375"/>
            <a:ext cx="5902325" cy="3298825"/>
          </a:xfrm>
          <a:prstGeom prst="rect">
            <a:avLst/>
          </a:prstGeom>
          <a:noFill/>
          <a:ln w="12700">
            <a:solidFill>
              <a:prstClr val="black"/>
            </a:solidFill>
          </a:ln>
        </p:spPr>
        <p:txBody>
          <a:bodyPr vert="horz" lIns="133795" tIns="66898" rIns="133795" bIns="66898" rtlCol="0" anchor="ctr"/>
          <a:lstStyle/>
          <a:p>
            <a:endParaRPr lang="nb-NO"/>
          </a:p>
        </p:txBody>
      </p:sp>
      <p:sp>
        <p:nvSpPr>
          <p:cNvPr id="5" name="Plassholder for notater 4"/>
          <p:cNvSpPr>
            <a:spLocks noGrp="1"/>
          </p:cNvSpPr>
          <p:nvPr>
            <p:ph type="body" sz="quarter" idx="3"/>
          </p:nvPr>
        </p:nvSpPr>
        <p:spPr>
          <a:xfrm>
            <a:off x="1425576" y="4703851"/>
            <a:ext cx="11404599" cy="3848607"/>
          </a:xfrm>
          <a:prstGeom prst="rect">
            <a:avLst/>
          </a:prstGeom>
        </p:spPr>
        <p:txBody>
          <a:bodyPr vert="horz" lIns="133795" tIns="66898" rIns="133795" bIns="66898"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1" y="9283831"/>
            <a:ext cx="6177491" cy="490409"/>
          </a:xfrm>
          <a:prstGeom prst="rect">
            <a:avLst/>
          </a:prstGeom>
        </p:spPr>
        <p:txBody>
          <a:bodyPr vert="horz" lIns="133795" tIns="66898" rIns="133795" bIns="66898" rtlCol="0" anchor="b"/>
          <a:lstStyle>
            <a:lvl1pPr algn="l">
              <a:defRPr sz="1800"/>
            </a:lvl1pPr>
          </a:lstStyle>
          <a:p>
            <a:endParaRPr lang="nb-NO"/>
          </a:p>
        </p:txBody>
      </p:sp>
      <p:sp>
        <p:nvSpPr>
          <p:cNvPr id="7" name="Plassholder for lysbildenummer 6"/>
          <p:cNvSpPr>
            <a:spLocks noGrp="1"/>
          </p:cNvSpPr>
          <p:nvPr>
            <p:ph type="sldNum" sz="quarter" idx="5"/>
          </p:nvPr>
        </p:nvSpPr>
        <p:spPr>
          <a:xfrm>
            <a:off x="8074962" y="9283831"/>
            <a:ext cx="6177491" cy="490409"/>
          </a:xfrm>
          <a:prstGeom prst="rect">
            <a:avLst/>
          </a:prstGeom>
        </p:spPr>
        <p:txBody>
          <a:bodyPr vert="horz" lIns="133795" tIns="66898" rIns="133795" bIns="66898" rtlCol="0" anchor="b"/>
          <a:lstStyle>
            <a:lvl1pPr algn="r">
              <a:defRPr sz="1800"/>
            </a:lvl1pPr>
          </a:lstStyle>
          <a:p>
            <a:fld id="{988FB815-4B74-45D9-A47D-33C36308A6D8}" type="slidenum">
              <a:rPr lang="nb-NO" smtClean="0"/>
              <a:t>‹#›</a:t>
            </a:fld>
            <a:endParaRPr lang="nb-NO"/>
          </a:p>
        </p:txBody>
      </p:sp>
    </p:spTree>
    <p:extLst>
      <p:ext uri="{BB962C8B-B14F-4D97-AF65-F5344CB8AC3E}">
        <p14:creationId xmlns:p14="http://schemas.microsoft.com/office/powerpoint/2010/main" val="1155752628"/>
      </p:ext>
    </p:extLst>
  </p:cSld>
  <p:clrMap bg1="lt1" tx1="dk1" bg2="lt2" tx2="dk2" accent1="accent1" accent2="accent2" accent3="accent3" accent4="accent4" accent5="accent5" accent6="accent6" hlink="hlink" folHlink="folHlink"/>
  <p:notesStyle>
    <a:lvl1pPr marL="0" algn="l" defTabSz="684246" rtl="0" eaLnBrk="1" latinLnBrk="0" hangingPunct="1">
      <a:defRPr sz="898" kern="1200">
        <a:solidFill>
          <a:schemeClr val="tx1"/>
        </a:solidFill>
        <a:latin typeface="+mn-lt"/>
        <a:ea typeface="+mn-ea"/>
        <a:cs typeface="+mn-cs"/>
      </a:defRPr>
    </a:lvl1pPr>
    <a:lvl2pPr marL="342123" algn="l" defTabSz="684246" rtl="0" eaLnBrk="1" latinLnBrk="0" hangingPunct="1">
      <a:defRPr sz="898" kern="1200">
        <a:solidFill>
          <a:schemeClr val="tx1"/>
        </a:solidFill>
        <a:latin typeface="+mn-lt"/>
        <a:ea typeface="+mn-ea"/>
        <a:cs typeface="+mn-cs"/>
      </a:defRPr>
    </a:lvl2pPr>
    <a:lvl3pPr marL="684246" algn="l" defTabSz="684246" rtl="0" eaLnBrk="1" latinLnBrk="0" hangingPunct="1">
      <a:defRPr sz="898" kern="1200">
        <a:solidFill>
          <a:schemeClr val="tx1"/>
        </a:solidFill>
        <a:latin typeface="+mn-lt"/>
        <a:ea typeface="+mn-ea"/>
        <a:cs typeface="+mn-cs"/>
      </a:defRPr>
    </a:lvl3pPr>
    <a:lvl4pPr marL="1026368" algn="l" defTabSz="684246" rtl="0" eaLnBrk="1" latinLnBrk="0" hangingPunct="1">
      <a:defRPr sz="898" kern="1200">
        <a:solidFill>
          <a:schemeClr val="tx1"/>
        </a:solidFill>
        <a:latin typeface="+mn-lt"/>
        <a:ea typeface="+mn-ea"/>
        <a:cs typeface="+mn-cs"/>
      </a:defRPr>
    </a:lvl4pPr>
    <a:lvl5pPr marL="1368491" algn="l" defTabSz="684246" rtl="0" eaLnBrk="1" latinLnBrk="0" hangingPunct="1">
      <a:defRPr sz="898" kern="1200">
        <a:solidFill>
          <a:schemeClr val="tx1"/>
        </a:solidFill>
        <a:latin typeface="+mn-lt"/>
        <a:ea typeface="+mn-ea"/>
        <a:cs typeface="+mn-cs"/>
      </a:defRPr>
    </a:lvl5pPr>
    <a:lvl6pPr marL="1710614" algn="l" defTabSz="684246" rtl="0" eaLnBrk="1" latinLnBrk="0" hangingPunct="1">
      <a:defRPr sz="898" kern="1200">
        <a:solidFill>
          <a:schemeClr val="tx1"/>
        </a:solidFill>
        <a:latin typeface="+mn-lt"/>
        <a:ea typeface="+mn-ea"/>
        <a:cs typeface="+mn-cs"/>
      </a:defRPr>
    </a:lvl6pPr>
    <a:lvl7pPr marL="2052737" algn="l" defTabSz="684246" rtl="0" eaLnBrk="1" latinLnBrk="0" hangingPunct="1">
      <a:defRPr sz="898" kern="1200">
        <a:solidFill>
          <a:schemeClr val="tx1"/>
        </a:solidFill>
        <a:latin typeface="+mn-lt"/>
        <a:ea typeface="+mn-ea"/>
        <a:cs typeface="+mn-cs"/>
      </a:defRPr>
    </a:lvl7pPr>
    <a:lvl8pPr marL="2394859" algn="l" defTabSz="684246" rtl="0" eaLnBrk="1" latinLnBrk="0" hangingPunct="1">
      <a:defRPr sz="898" kern="1200">
        <a:solidFill>
          <a:schemeClr val="tx1"/>
        </a:solidFill>
        <a:latin typeface="+mn-lt"/>
        <a:ea typeface="+mn-ea"/>
        <a:cs typeface="+mn-cs"/>
      </a:defRPr>
    </a:lvl8pPr>
    <a:lvl9pPr marL="2736982" algn="l" defTabSz="684246" rtl="0" eaLnBrk="1" latinLnBrk="0" hangingPunct="1">
      <a:defRPr sz="89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988FB815-4B74-45D9-A47D-33C36308A6D8}" type="slidenum">
              <a:rPr lang="nb-NO" smtClean="0"/>
              <a:t>2</a:t>
            </a:fld>
            <a:endParaRPr lang="nb-NO"/>
          </a:p>
        </p:txBody>
      </p:sp>
    </p:spTree>
    <p:extLst>
      <p:ext uri="{BB962C8B-B14F-4D97-AF65-F5344CB8AC3E}">
        <p14:creationId xmlns:p14="http://schemas.microsoft.com/office/powerpoint/2010/main" val="2655432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988FB815-4B74-45D9-A47D-33C36308A6D8}" type="slidenum">
              <a:rPr lang="nb-NO" smtClean="0"/>
              <a:t>5</a:t>
            </a:fld>
            <a:endParaRPr lang="nb-NO"/>
          </a:p>
        </p:txBody>
      </p:sp>
    </p:spTree>
    <p:extLst>
      <p:ext uri="{BB962C8B-B14F-4D97-AF65-F5344CB8AC3E}">
        <p14:creationId xmlns:p14="http://schemas.microsoft.com/office/powerpoint/2010/main" val="4337052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19.svg"/><Relationship Id="rId4" Type="http://schemas.openxmlformats.org/officeDocument/2006/relationships/image" Target="../media/image18.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3.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93A1E326-C424-77C0-6978-2ECBD0AFF397}"/>
              </a:ext>
            </a:extLst>
          </p:cNvPr>
          <p:cNvSpPr/>
          <p:nvPr userDrawn="1"/>
        </p:nvSpPr>
        <p:spPr>
          <a:xfrm>
            <a:off x="0" y="4654493"/>
            <a:ext cx="9145143" cy="457257"/>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bunntekst 4">
            <a:extLst>
              <a:ext uri="{FF2B5EF4-FFF2-40B4-BE49-F238E27FC236}">
                <a16:creationId xmlns:a16="http://schemas.microsoft.com/office/drawing/2014/main" id="{5044874A-FADC-7682-CE1B-D61B44B0B01E}"/>
              </a:ext>
            </a:extLst>
          </p:cNvPr>
          <p:cNvSpPr>
            <a:spLocks noGrp="1"/>
          </p:cNvSpPr>
          <p:nvPr>
            <p:ph type="ftr" sz="quarter" idx="11"/>
          </p:nvPr>
        </p:nvSpPr>
        <p:spPr/>
        <p:txBody>
          <a:bodyPr lIns="0" tIns="0" rIns="0" bIns="0"/>
          <a:lstStyle/>
          <a:p>
            <a:endParaRPr lang="nb-NO"/>
          </a:p>
        </p:txBody>
      </p:sp>
      <p:pic>
        <p:nvPicPr>
          <p:cNvPr id="9" name="Grafikk 8">
            <a:extLst>
              <a:ext uri="{FF2B5EF4-FFF2-40B4-BE49-F238E27FC236}">
                <a16:creationId xmlns:a16="http://schemas.microsoft.com/office/drawing/2014/main" id="{15CFC04B-ED1B-B55D-9BD9-0AD91F8A247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27235" b="36013"/>
          <a:stretch/>
        </p:blipFill>
        <p:spPr>
          <a:xfrm>
            <a:off x="736688" y="1"/>
            <a:ext cx="8337600" cy="5111750"/>
          </a:xfrm>
          <a:prstGeom prst="rect">
            <a:avLst/>
          </a:prstGeom>
        </p:spPr>
      </p:pic>
      <p:sp>
        <p:nvSpPr>
          <p:cNvPr id="2" name="Tittel 1">
            <a:extLst>
              <a:ext uri="{FF2B5EF4-FFF2-40B4-BE49-F238E27FC236}">
                <a16:creationId xmlns:a16="http://schemas.microsoft.com/office/drawing/2014/main" id="{189EBC06-125D-02E3-7D7F-05ADCD9166E1}"/>
              </a:ext>
            </a:extLst>
          </p:cNvPr>
          <p:cNvSpPr>
            <a:spLocks noGrp="1"/>
          </p:cNvSpPr>
          <p:nvPr>
            <p:ph type="ctrTitle"/>
          </p:nvPr>
        </p:nvSpPr>
        <p:spPr>
          <a:xfrm>
            <a:off x="457257" y="2039874"/>
            <a:ext cx="6495086" cy="498598"/>
          </a:xfrm>
        </p:spPr>
        <p:txBody>
          <a:bodyPr wrap="square" lIns="0" tIns="0" rIns="0" bIns="0" anchor="t">
            <a:spAutoFit/>
          </a:bodyPr>
          <a:lstStyle>
            <a:lvl1pPr algn="l">
              <a:defRPr sz="3600"/>
            </a:lvl1pPr>
          </a:lstStyle>
          <a:p>
            <a:r>
              <a:rPr lang="nb-NO"/>
              <a:t>Klikk for å redigere tittelstil</a:t>
            </a:r>
          </a:p>
        </p:txBody>
      </p:sp>
      <p:sp>
        <p:nvSpPr>
          <p:cNvPr id="3" name="Undertittel 2">
            <a:extLst>
              <a:ext uri="{FF2B5EF4-FFF2-40B4-BE49-F238E27FC236}">
                <a16:creationId xmlns:a16="http://schemas.microsoft.com/office/drawing/2014/main" id="{8A9128B6-D639-84D6-CE51-229DD113EC95}"/>
              </a:ext>
            </a:extLst>
          </p:cNvPr>
          <p:cNvSpPr>
            <a:spLocks noGrp="1"/>
          </p:cNvSpPr>
          <p:nvPr>
            <p:ph type="subTitle" idx="1"/>
          </p:nvPr>
        </p:nvSpPr>
        <p:spPr>
          <a:xfrm>
            <a:off x="457257" y="2713880"/>
            <a:ext cx="6495086" cy="193899"/>
          </a:xfrm>
        </p:spPr>
        <p:txBody>
          <a:bodyPr lIns="0" tIns="0" rIns="0" bIns="0">
            <a:spAutoFit/>
          </a:bodyPr>
          <a:lstStyle>
            <a:lvl1pPr marL="0" indent="0" algn="l">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20681BD6-E2BE-C975-4AF7-B057CF7B9067}"/>
              </a:ext>
            </a:extLst>
          </p:cNvPr>
          <p:cNvSpPr>
            <a:spLocks noGrp="1"/>
          </p:cNvSpPr>
          <p:nvPr>
            <p:ph type="dt" sz="half" idx="10"/>
          </p:nvPr>
        </p:nvSpPr>
        <p:spPr>
          <a:xfrm>
            <a:off x="457257" y="3126755"/>
            <a:ext cx="2057400" cy="153888"/>
          </a:xfrm>
        </p:spPr>
        <p:txBody>
          <a:bodyPr lIns="0" tIns="0" rIns="0" bIns="0"/>
          <a:lstStyle>
            <a:lvl1pPr>
              <a:defRPr sz="1000"/>
            </a:lvl1pPr>
          </a:lstStyle>
          <a:p>
            <a:r>
              <a:rPr lang="nb-NO"/>
              <a:t>Oslo, dd.mm.yyyy</a:t>
            </a:r>
          </a:p>
        </p:txBody>
      </p:sp>
      <p:sp>
        <p:nvSpPr>
          <p:cNvPr id="6" name="Plassholder for lysbildenummer 5">
            <a:extLst>
              <a:ext uri="{FF2B5EF4-FFF2-40B4-BE49-F238E27FC236}">
                <a16:creationId xmlns:a16="http://schemas.microsoft.com/office/drawing/2014/main" id="{09C3D943-CF29-F519-F396-74A07D368CCF}"/>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pic>
        <p:nvPicPr>
          <p:cNvPr id="8" name="Grafikk 7">
            <a:extLst>
              <a:ext uri="{FF2B5EF4-FFF2-40B4-BE49-F238E27FC236}">
                <a16:creationId xmlns:a16="http://schemas.microsoft.com/office/drawing/2014/main" id="{1FB3283B-FF68-DC05-E013-0F72BC5F0DE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7257" y="457257"/>
            <a:ext cx="1530000" cy="370421"/>
          </a:xfrm>
          <a:prstGeom prst="rect">
            <a:avLst/>
          </a:prstGeom>
        </p:spPr>
      </p:pic>
    </p:spTree>
    <p:extLst>
      <p:ext uri="{BB962C8B-B14F-4D97-AF65-F5344CB8AC3E}">
        <p14:creationId xmlns:p14="http://schemas.microsoft.com/office/powerpoint/2010/main" val="4068609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 innholdsdeler #3">
    <p:bg>
      <p:bgRef idx="1001">
        <a:schemeClr val="bg1"/>
      </p:bgRef>
    </p:bg>
    <p:spTree>
      <p:nvGrpSpPr>
        <p:cNvPr id="1" name=""/>
        <p:cNvGrpSpPr/>
        <p:nvPr/>
      </p:nvGrpSpPr>
      <p:grpSpPr>
        <a:xfrm>
          <a:off x="0" y="0"/>
          <a:ext cx="0" cy="0"/>
          <a:chOff x="0" y="0"/>
          <a:chExt cx="0" cy="0"/>
        </a:xfrm>
      </p:grpSpPr>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7" y="1110634"/>
            <a:ext cx="7824682"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6" name="Plassholder for innhold 2">
            <a:extLst>
              <a:ext uri="{FF2B5EF4-FFF2-40B4-BE49-F238E27FC236}">
                <a16:creationId xmlns:a16="http://schemas.microsoft.com/office/drawing/2014/main" id="{BE070B99-CC43-42C1-97F9-A8177AA17C49}"/>
              </a:ext>
            </a:extLst>
          </p:cNvPr>
          <p:cNvSpPr>
            <a:spLocks noGrp="1"/>
          </p:cNvSpPr>
          <p:nvPr>
            <p:ph idx="14"/>
          </p:nvPr>
        </p:nvSpPr>
        <p:spPr>
          <a:xfrm>
            <a:off x="4578981"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7" name="Plassholder for tekst 9">
            <a:extLst>
              <a:ext uri="{FF2B5EF4-FFF2-40B4-BE49-F238E27FC236}">
                <a16:creationId xmlns:a16="http://schemas.microsoft.com/office/drawing/2014/main" id="{FF592D73-2BB9-D0DD-9066-E29A73148330}"/>
              </a:ext>
            </a:extLst>
          </p:cNvPr>
          <p:cNvSpPr>
            <a:spLocks noGrp="1"/>
          </p:cNvSpPr>
          <p:nvPr>
            <p:ph type="body" sz="quarter" idx="15" hasCustomPrompt="1"/>
          </p:nvPr>
        </p:nvSpPr>
        <p:spPr>
          <a:xfrm>
            <a:off x="4578979"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Tree>
    <p:extLst>
      <p:ext uri="{BB962C8B-B14F-4D97-AF65-F5344CB8AC3E}">
        <p14:creationId xmlns:p14="http://schemas.microsoft.com/office/powerpoint/2010/main" val="3334076472"/>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o innholdsdeler #4">
    <p:bg>
      <p:bgRef idx="1001">
        <a:schemeClr val="bg1"/>
      </p:bgRef>
    </p:bg>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BEE2BB55-7571-3411-2E34-E5B91C6BF44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2702" r="19833" b="8048"/>
          <a:stretch/>
        </p:blipFill>
        <p:spPr>
          <a:xfrm>
            <a:off x="275326" y="0"/>
            <a:ext cx="8868674" cy="5111750"/>
          </a:xfrm>
          <a:prstGeom prst="rect">
            <a:avLst/>
          </a:prstGeom>
        </p:spPr>
      </p:pic>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005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7" y="1110634"/>
            <a:ext cx="7824682"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6" name="Plassholder for innhold 2">
            <a:extLst>
              <a:ext uri="{FF2B5EF4-FFF2-40B4-BE49-F238E27FC236}">
                <a16:creationId xmlns:a16="http://schemas.microsoft.com/office/drawing/2014/main" id="{BE070B99-CC43-42C1-97F9-A8177AA17C49}"/>
              </a:ext>
            </a:extLst>
          </p:cNvPr>
          <p:cNvSpPr>
            <a:spLocks noGrp="1"/>
          </p:cNvSpPr>
          <p:nvPr>
            <p:ph idx="14"/>
          </p:nvPr>
        </p:nvSpPr>
        <p:spPr>
          <a:xfrm>
            <a:off x="4578981"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7" name="Plassholder for tekst 9">
            <a:extLst>
              <a:ext uri="{FF2B5EF4-FFF2-40B4-BE49-F238E27FC236}">
                <a16:creationId xmlns:a16="http://schemas.microsoft.com/office/drawing/2014/main" id="{FF592D73-2BB9-D0DD-9066-E29A73148330}"/>
              </a:ext>
            </a:extLst>
          </p:cNvPr>
          <p:cNvSpPr>
            <a:spLocks noGrp="1"/>
          </p:cNvSpPr>
          <p:nvPr>
            <p:ph type="body" sz="quarter" idx="15" hasCustomPrompt="1"/>
          </p:nvPr>
        </p:nvSpPr>
        <p:spPr>
          <a:xfrm>
            <a:off x="4578979"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Tree>
    <p:extLst>
      <p:ext uri="{BB962C8B-B14F-4D97-AF65-F5344CB8AC3E}">
        <p14:creationId xmlns:p14="http://schemas.microsoft.com/office/powerpoint/2010/main" val="69396341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o innholdsdeler #5">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FE727192-E739-041D-CB81-5E90EF320E51}"/>
              </a:ext>
            </a:extLst>
          </p:cNvPr>
          <p:cNvSpPr/>
          <p:nvPr userDrawn="1"/>
        </p:nvSpPr>
        <p:spPr>
          <a:xfrm>
            <a:off x="0" y="0"/>
            <a:ext cx="4572000" cy="5111750"/>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8" y="1368170"/>
            <a:ext cx="3702960" cy="876266"/>
          </a:xfrm>
        </p:spPr>
        <p:txBody>
          <a:bodyPr lIns="0" tIns="0" rIns="0" bIns="0"/>
          <a:lstStyle>
            <a:lvl1pPr>
              <a:defRPr>
                <a:solidFill>
                  <a:schemeClr val="lt1"/>
                </a:solidFill>
              </a:defRPr>
            </a:lvl1pPr>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479617"/>
            <a:ext cx="3702960" cy="1749484"/>
          </a:xfrm>
        </p:spPr>
        <p:txBody>
          <a:bodyPr lIns="0" tIns="0" rIns="0" bIns="0"/>
          <a:lstStyle>
            <a:lvl1pP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6" name="Plassholder for innhold 2">
            <a:extLst>
              <a:ext uri="{FF2B5EF4-FFF2-40B4-BE49-F238E27FC236}">
                <a16:creationId xmlns:a16="http://schemas.microsoft.com/office/drawing/2014/main" id="{BE070B99-CC43-42C1-97F9-A8177AA17C49}"/>
              </a:ext>
            </a:extLst>
          </p:cNvPr>
          <p:cNvSpPr>
            <a:spLocks noGrp="1"/>
          </p:cNvSpPr>
          <p:nvPr>
            <p:ph idx="14"/>
          </p:nvPr>
        </p:nvSpPr>
        <p:spPr>
          <a:xfrm>
            <a:off x="5036180" y="2479616"/>
            <a:ext cx="3245759" cy="1749484"/>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2" name="Grafikk 1">
            <a:extLst>
              <a:ext uri="{FF2B5EF4-FFF2-40B4-BE49-F238E27FC236}">
                <a16:creationId xmlns:a16="http://schemas.microsoft.com/office/drawing/2014/main" id="{7031CF78-9F44-2D1C-EB1A-80013EA580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56" y="457257"/>
            <a:ext cx="1202400" cy="291107"/>
          </a:xfrm>
          <a:prstGeom prst="rect">
            <a:avLst/>
          </a:prstGeom>
        </p:spPr>
      </p:pic>
      <p:sp>
        <p:nvSpPr>
          <p:cNvPr id="4" name="Plassholder for tekst 3">
            <a:extLst>
              <a:ext uri="{FF2B5EF4-FFF2-40B4-BE49-F238E27FC236}">
                <a16:creationId xmlns:a16="http://schemas.microsoft.com/office/drawing/2014/main" id="{77B5B3D8-2294-84AC-EF16-BE5723C67792}"/>
              </a:ext>
            </a:extLst>
          </p:cNvPr>
          <p:cNvSpPr>
            <a:spLocks noGrp="1"/>
          </p:cNvSpPr>
          <p:nvPr>
            <p:ph type="body" sz="quarter" idx="15" hasCustomPrompt="1"/>
          </p:nvPr>
        </p:nvSpPr>
        <p:spPr>
          <a:xfrm>
            <a:off x="5036180" y="1368171"/>
            <a:ext cx="3245759" cy="876266"/>
          </a:xfrm>
          <a:prstGeom prst="rect">
            <a:avLst/>
          </a:prstGeom>
        </p:spPr>
        <p:txBody>
          <a:bodyPr lIns="0" tIns="0" rIns="0" bIns="0"/>
          <a:lstStyle>
            <a:lvl1pPr marL="0" indent="0">
              <a:buNone/>
              <a:defRPr sz="2400"/>
            </a:lvl1pPr>
          </a:lstStyle>
          <a:p>
            <a:pPr lvl="0"/>
            <a:r>
              <a:rPr lang="nb-NO"/>
              <a:t>Klikk for å legge til tittel</a:t>
            </a:r>
          </a:p>
        </p:txBody>
      </p:sp>
    </p:spTree>
    <p:extLst>
      <p:ext uri="{BB962C8B-B14F-4D97-AF65-F5344CB8AC3E}">
        <p14:creationId xmlns:p14="http://schemas.microsoft.com/office/powerpoint/2010/main" val="1402758801"/>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tel, tekst og bilde">
    <p:bg>
      <p:bgRef idx="1001">
        <a:schemeClr val="bg1"/>
      </p:bgRef>
    </p:bg>
    <p:spTree>
      <p:nvGrpSpPr>
        <p:cNvPr id="1" name=""/>
        <p:cNvGrpSpPr/>
        <p:nvPr/>
      </p:nvGrpSpPr>
      <p:grpSpPr>
        <a:xfrm>
          <a:off x="0" y="0"/>
          <a:ext cx="0" cy="0"/>
          <a:chOff x="0" y="0"/>
          <a:chExt cx="0" cy="0"/>
        </a:xfrm>
      </p:grpSpPr>
      <p:sp>
        <p:nvSpPr>
          <p:cNvPr id="12" name="Plassholder for bilde 11">
            <a:extLst>
              <a:ext uri="{FF2B5EF4-FFF2-40B4-BE49-F238E27FC236}">
                <a16:creationId xmlns:a16="http://schemas.microsoft.com/office/drawing/2014/main" id="{183ABFD2-3904-4789-1324-422C0363621E}"/>
              </a:ext>
            </a:extLst>
          </p:cNvPr>
          <p:cNvSpPr>
            <a:spLocks noGrp="1"/>
          </p:cNvSpPr>
          <p:nvPr>
            <p:ph type="pic" sz="quarter" idx="14"/>
          </p:nvPr>
        </p:nvSpPr>
        <p:spPr>
          <a:xfrm>
            <a:off x="5672426" y="0"/>
            <a:ext cx="3471575" cy="5111751"/>
          </a:xfrm>
          <a:custGeom>
            <a:avLst/>
            <a:gdLst>
              <a:gd name="connsiteX0" fmla="*/ 907563 w 3471575"/>
              <a:gd name="connsiteY0" fmla="*/ 0 h 5111751"/>
              <a:gd name="connsiteX1" fmla="*/ 3471575 w 3471575"/>
              <a:gd name="connsiteY1" fmla="*/ 0 h 5111751"/>
              <a:gd name="connsiteX2" fmla="*/ 3471575 w 3471575"/>
              <a:gd name="connsiteY2" fmla="*/ 5111751 h 5111751"/>
              <a:gd name="connsiteX3" fmla="*/ 1241407 w 3471575"/>
              <a:gd name="connsiteY3" fmla="*/ 5111751 h 5111751"/>
              <a:gd name="connsiteX4" fmla="*/ 220495 w 3471575"/>
              <a:gd name="connsiteY4" fmla="*/ 2846952 h 5111751"/>
              <a:gd name="connsiteX5" fmla="*/ 501 w 3471575"/>
              <a:gd name="connsiteY5" fmla="*/ 1900596 h 5111751"/>
              <a:gd name="connsiteX6" fmla="*/ 907563 w 3471575"/>
              <a:gd name="connsiteY6" fmla="*/ 0 h 511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1575" h="5111751">
                <a:moveTo>
                  <a:pt x="907563" y="0"/>
                </a:moveTo>
                <a:lnTo>
                  <a:pt x="3471575" y="0"/>
                </a:lnTo>
                <a:lnTo>
                  <a:pt x="3471575" y="5111751"/>
                </a:lnTo>
                <a:lnTo>
                  <a:pt x="1241407" y="5111751"/>
                </a:lnTo>
                <a:lnTo>
                  <a:pt x="220495" y="2846952"/>
                </a:lnTo>
                <a:cubicBezTo>
                  <a:pt x="85574" y="2559052"/>
                  <a:pt x="7368" y="2238853"/>
                  <a:pt x="501" y="1900596"/>
                </a:cubicBezTo>
                <a:cubicBezTo>
                  <a:pt x="-15267" y="1129981"/>
                  <a:pt x="342445" y="438844"/>
                  <a:pt x="907563" y="0"/>
                </a:cubicBezTo>
                <a:close/>
              </a:path>
            </a:pathLst>
          </a:custGeom>
          <a:solidFill>
            <a:schemeClr val="bg1">
              <a:lumMod val="85000"/>
            </a:schemeClr>
          </a:solidFill>
        </p:spPr>
        <p:txBody>
          <a:bodyPr wrap="square" tIns="504615">
            <a:noAutofit/>
          </a:bodyPr>
          <a:lstStyle>
            <a:lvl1pPr marL="120650" indent="-120650" algn="ctr" defTabSz="914400" rtl="0" eaLnBrk="1" latinLnBrk="0" hangingPunct="1">
              <a:lnSpc>
                <a:spcPct val="90000"/>
              </a:lnSpc>
              <a:spcBef>
                <a:spcPts val="10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7" y="1110634"/>
            <a:ext cx="4476693"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081047"/>
            <a:ext cx="4476693"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5" y="1809436"/>
            <a:ext cx="4476693" cy="124650"/>
          </a:xfrm>
          <a:prstGeom prst="rect">
            <a:avLst/>
          </a:prstGeom>
        </p:spPr>
        <p:txBody>
          <a:bodyPr wrap="square" lIns="0" tIns="0" rIns="0" bIns="0">
            <a:spAutoFit/>
          </a:bodyPr>
          <a:lstStyle>
            <a:lvl1pPr marL="0" indent="0">
              <a:buNone/>
              <a:defRPr b="1"/>
            </a:lvl1pPr>
          </a:lstStyle>
          <a:p>
            <a:pPr lvl="0"/>
            <a:r>
              <a:rPr lang="nb-NO"/>
              <a:t>Undertittel</a:t>
            </a:r>
          </a:p>
        </p:txBody>
      </p:sp>
    </p:spTree>
    <p:extLst>
      <p:ext uri="{BB962C8B-B14F-4D97-AF65-F5344CB8AC3E}">
        <p14:creationId xmlns:p14="http://schemas.microsoft.com/office/powerpoint/2010/main" val="2464976812"/>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2">
    <p:bg>
      <p:bgRef idx="1001">
        <a:schemeClr val="bg1"/>
      </p:bgRef>
    </p:bg>
    <p:spTree>
      <p:nvGrpSpPr>
        <p:cNvPr id="1" name=""/>
        <p:cNvGrpSpPr/>
        <p:nvPr/>
      </p:nvGrpSpPr>
      <p:grpSpPr>
        <a:xfrm>
          <a:off x="0" y="0"/>
          <a:ext cx="0" cy="0"/>
          <a:chOff x="0" y="0"/>
          <a:chExt cx="0" cy="0"/>
        </a:xfrm>
      </p:grpSpPr>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0" y="0"/>
            <a:ext cx="3582448" cy="4654493"/>
          </a:xfrm>
          <a:prstGeom prst="rect">
            <a:avLst/>
          </a:prstGeom>
          <a:solidFill>
            <a:schemeClr val="bg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dk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369362" y="1110634"/>
            <a:ext cx="4476693"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369362" y="2081047"/>
            <a:ext cx="4476693"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369362" y="1809436"/>
            <a:ext cx="4476693"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5" name="Plassholder for tekst 13">
            <a:extLst>
              <a:ext uri="{FF2B5EF4-FFF2-40B4-BE49-F238E27FC236}">
                <a16:creationId xmlns:a16="http://schemas.microsoft.com/office/drawing/2014/main" id="{013FA124-367D-FBCA-FBBA-333BDE76BD66}"/>
              </a:ext>
            </a:extLst>
          </p:cNvPr>
          <p:cNvSpPr>
            <a:spLocks noGrp="1"/>
          </p:cNvSpPr>
          <p:nvPr>
            <p:ph type="body" sz="quarter" idx="14" hasCustomPrompt="1"/>
          </p:nvPr>
        </p:nvSpPr>
        <p:spPr>
          <a:xfrm>
            <a:off x="457256" y="457257"/>
            <a:ext cx="1202400" cy="291107"/>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pic>
        <p:nvPicPr>
          <p:cNvPr id="19" name="Grafikk 18">
            <a:extLst>
              <a:ext uri="{FF2B5EF4-FFF2-40B4-BE49-F238E27FC236}">
                <a16:creationId xmlns:a16="http://schemas.microsoft.com/office/drawing/2014/main" id="{836B93EF-C490-5A81-6A58-3BD0EC70A263}"/>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r="39186" b="62840"/>
          <a:stretch/>
        </p:blipFill>
        <p:spPr>
          <a:xfrm>
            <a:off x="5912587" y="3639012"/>
            <a:ext cx="3231413" cy="1015482"/>
          </a:xfrm>
          <a:prstGeom prst="rect">
            <a:avLst/>
          </a:prstGeom>
        </p:spPr>
      </p:pic>
    </p:spTree>
    <p:extLst>
      <p:ext uri="{BB962C8B-B14F-4D97-AF65-F5344CB8AC3E}">
        <p14:creationId xmlns:p14="http://schemas.microsoft.com/office/powerpoint/2010/main" val="828633657"/>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3">
    <p:bg>
      <p:bgRef idx="1001">
        <a:schemeClr val="bg1"/>
      </p:bgRef>
    </p:bg>
    <p:spTree>
      <p:nvGrpSpPr>
        <p:cNvPr id="1" name=""/>
        <p:cNvGrpSpPr/>
        <p:nvPr/>
      </p:nvGrpSpPr>
      <p:grpSpPr>
        <a:xfrm>
          <a:off x="0" y="0"/>
          <a:ext cx="0" cy="0"/>
          <a:chOff x="0" y="0"/>
          <a:chExt cx="0" cy="0"/>
        </a:xfrm>
      </p:grpSpPr>
      <p:pic>
        <p:nvPicPr>
          <p:cNvPr id="10" name="Grafikk 9">
            <a:extLst>
              <a:ext uri="{FF2B5EF4-FFF2-40B4-BE49-F238E27FC236}">
                <a16:creationId xmlns:a16="http://schemas.microsoft.com/office/drawing/2014/main" id="{BD4153EE-7C08-07D3-CF05-460E299038FF}"/>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669" t="12701" r="8676" b="15138"/>
          <a:stretch/>
        </p:blipFill>
        <p:spPr>
          <a:xfrm>
            <a:off x="0" y="0"/>
            <a:ext cx="9144000" cy="4654493"/>
          </a:xfrm>
          <a:prstGeom prst="rect">
            <a:avLst/>
          </a:prstGeom>
        </p:spPr>
      </p:pic>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0" y="0"/>
            <a:ext cx="3582448" cy="4654493"/>
          </a:xfrm>
          <a:prstGeom prst="rect">
            <a:avLst/>
          </a:prstGeom>
          <a:solidFill>
            <a:schemeClr val="bg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80F1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dk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369362" y="1110634"/>
            <a:ext cx="4476693"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369362" y="2081047"/>
            <a:ext cx="4476693"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369362" y="1809436"/>
            <a:ext cx="4476693"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5" name="Plassholder for tekst 13">
            <a:extLst>
              <a:ext uri="{FF2B5EF4-FFF2-40B4-BE49-F238E27FC236}">
                <a16:creationId xmlns:a16="http://schemas.microsoft.com/office/drawing/2014/main" id="{013FA124-367D-FBCA-FBBA-333BDE76BD66}"/>
              </a:ext>
            </a:extLst>
          </p:cNvPr>
          <p:cNvSpPr>
            <a:spLocks noGrp="1"/>
          </p:cNvSpPr>
          <p:nvPr>
            <p:ph type="body" sz="quarter" idx="14" hasCustomPrompt="1"/>
          </p:nvPr>
        </p:nvSpPr>
        <p:spPr>
          <a:xfrm>
            <a:off x="457256" y="457257"/>
            <a:ext cx="1202400" cy="291107"/>
          </a:xfrm>
          <a:prstGeom prst="rect">
            <a:avLst/>
          </a:prstGeom>
          <a:blipFill dpi="0"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2905563007"/>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4">
    <p:bg>
      <p:bgRef idx="1001">
        <a:schemeClr val="bg2"/>
      </p:bgRef>
    </p:bg>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21183325-5D0B-B443-6613-47C611FAF1D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1430" t="26336" r="10537"/>
          <a:stretch/>
        </p:blipFill>
        <p:spPr>
          <a:xfrm>
            <a:off x="0" y="0"/>
            <a:ext cx="9144000" cy="3499421"/>
          </a:xfrm>
          <a:prstGeom prst="rect">
            <a:avLst/>
          </a:prstGeom>
        </p:spPr>
      </p:pic>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0" y="0"/>
            <a:ext cx="3582448" cy="4654493"/>
          </a:xfrm>
          <a:prstGeom prst="rect">
            <a:avLst/>
          </a:prstGeom>
          <a:solidFill>
            <a:schemeClr val="tx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5F00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369362" y="1110634"/>
            <a:ext cx="4476693"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369362" y="2081047"/>
            <a:ext cx="4476693"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369362" y="1809436"/>
            <a:ext cx="4476693"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5" name="Plassholder for tekst 13">
            <a:extLst>
              <a:ext uri="{FF2B5EF4-FFF2-40B4-BE49-F238E27FC236}">
                <a16:creationId xmlns:a16="http://schemas.microsoft.com/office/drawing/2014/main" id="{013FA124-367D-FBCA-FBBA-333BDE76BD66}"/>
              </a:ext>
            </a:extLst>
          </p:cNvPr>
          <p:cNvSpPr>
            <a:spLocks noGrp="1"/>
          </p:cNvSpPr>
          <p:nvPr>
            <p:ph type="body" sz="quarter" idx="14" hasCustomPrompt="1"/>
          </p:nvPr>
        </p:nvSpPr>
        <p:spPr>
          <a:xfrm>
            <a:off x="457256" y="457257"/>
            <a:ext cx="1202400" cy="291107"/>
          </a:xfrm>
          <a:prstGeom prst="rect">
            <a:avLst/>
          </a:prstGeom>
          <a:blipFill dpi="0"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2317944372"/>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5">
    <p:bg>
      <p:bgPr>
        <a:solidFill>
          <a:srgbClr val="5F00C2"/>
        </a:solidFill>
        <a:effectLst/>
      </p:bgPr>
    </p:bg>
    <p:spTree>
      <p:nvGrpSpPr>
        <p:cNvPr id="1" name=""/>
        <p:cNvGrpSpPr/>
        <p:nvPr/>
      </p:nvGrpSpPr>
      <p:grpSpPr>
        <a:xfrm>
          <a:off x="0" y="0"/>
          <a:ext cx="0" cy="0"/>
          <a:chOff x="0" y="0"/>
          <a:chExt cx="0" cy="0"/>
        </a:xfrm>
      </p:grpSpPr>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4571428" y="0"/>
            <a:ext cx="4572572" cy="4654492"/>
          </a:xfrm>
          <a:prstGeom prst="rect">
            <a:avLst/>
          </a:prstGeom>
          <a:solidFill>
            <a:schemeClr val="tx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4" name="Plassholder for tekst 12">
            <a:extLst>
              <a:ext uri="{FF2B5EF4-FFF2-40B4-BE49-F238E27FC236}">
                <a16:creationId xmlns:a16="http://schemas.microsoft.com/office/drawing/2014/main" id="{00969560-B406-A3F9-3583-A403A675DECD}"/>
              </a:ext>
            </a:extLst>
          </p:cNvPr>
          <p:cNvSpPr>
            <a:spLocks noGrp="1"/>
          </p:cNvSpPr>
          <p:nvPr>
            <p:ph type="body" sz="quarter" idx="16" hasCustomPrompt="1"/>
          </p:nvPr>
        </p:nvSpPr>
        <p:spPr>
          <a:xfrm>
            <a:off x="0" y="0"/>
            <a:ext cx="5438103" cy="4657748"/>
          </a:xfrm>
          <a:prstGeom prst="rect">
            <a:avLst/>
          </a:prstGeom>
          <a:blipFill>
            <a:blip r:embed="rId2"/>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8" y="1110634"/>
            <a:ext cx="3648018"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8" y="2081047"/>
            <a:ext cx="3648018"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8" y="1809436"/>
            <a:ext cx="3648018" cy="124650"/>
          </a:xfrm>
          <a:prstGeom prst="rect">
            <a:avLst/>
          </a:prstGeom>
        </p:spPr>
        <p:txBody>
          <a:bodyPr wrap="square" lIns="0" tIns="0" rIns="0" bIns="0">
            <a:spAutoFit/>
          </a:bodyPr>
          <a:lstStyle>
            <a:lvl1pPr marL="0" indent="0">
              <a:buNone/>
              <a:defRPr b="1"/>
            </a:lvl1pPr>
          </a:lstStyle>
          <a:p>
            <a:pPr lvl="0"/>
            <a:r>
              <a:rPr lang="nb-NO"/>
              <a:t>Undertittel</a:t>
            </a:r>
          </a:p>
        </p:txBody>
      </p:sp>
      <p:pic>
        <p:nvPicPr>
          <p:cNvPr id="17" name="Grafikk 16">
            <a:extLst>
              <a:ext uri="{FF2B5EF4-FFF2-40B4-BE49-F238E27FC236}">
                <a16:creationId xmlns:a16="http://schemas.microsoft.com/office/drawing/2014/main" id="{C2CA1454-1993-8B75-66B5-A59F401C802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57256" y="457257"/>
            <a:ext cx="1202400" cy="291107"/>
          </a:xfrm>
          <a:prstGeom prst="rect">
            <a:avLst/>
          </a:prstGeom>
        </p:spPr>
      </p:pic>
    </p:spTree>
    <p:extLst>
      <p:ext uri="{BB962C8B-B14F-4D97-AF65-F5344CB8AC3E}">
        <p14:creationId xmlns:p14="http://schemas.microsoft.com/office/powerpoint/2010/main" val="2908831698"/>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ilde">
    <p:bg>
      <p:bgRef idx="1001">
        <a:schemeClr val="bg2"/>
      </p:bgRef>
    </p:bg>
    <p:spTree>
      <p:nvGrpSpPr>
        <p:cNvPr id="1" name=""/>
        <p:cNvGrpSpPr/>
        <p:nvPr/>
      </p:nvGrpSpPr>
      <p:grpSpPr>
        <a:xfrm>
          <a:off x="0" y="0"/>
          <a:ext cx="0" cy="0"/>
          <a:chOff x="0" y="0"/>
          <a:chExt cx="0" cy="0"/>
        </a:xfrm>
      </p:grpSpPr>
      <p:pic>
        <p:nvPicPr>
          <p:cNvPr id="4" name="Grafikk 3">
            <a:extLst>
              <a:ext uri="{FF2B5EF4-FFF2-40B4-BE49-F238E27FC236}">
                <a16:creationId xmlns:a16="http://schemas.microsoft.com/office/drawing/2014/main" id="{5733D159-5E6A-C22F-C226-0B15D57CB2F5}"/>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26948" r="20214" b="11741"/>
          <a:stretch/>
        </p:blipFill>
        <p:spPr>
          <a:xfrm>
            <a:off x="889095" y="0"/>
            <a:ext cx="8254905" cy="4654493"/>
          </a:xfrm>
          <a:prstGeom prst="rect">
            <a:avLst/>
          </a:prstGeom>
        </p:spPr>
      </p:pic>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0" y="0"/>
            <a:ext cx="3582448" cy="4654493"/>
          </a:xfrm>
          <a:prstGeom prst="rect">
            <a:avLst/>
          </a:prstGeom>
          <a:solidFill>
            <a:schemeClr val="tx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5F00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15" name="Plassholder for tekst 13">
            <a:extLst>
              <a:ext uri="{FF2B5EF4-FFF2-40B4-BE49-F238E27FC236}">
                <a16:creationId xmlns:a16="http://schemas.microsoft.com/office/drawing/2014/main" id="{013FA124-367D-FBCA-FBBA-333BDE76BD66}"/>
              </a:ext>
            </a:extLst>
          </p:cNvPr>
          <p:cNvSpPr>
            <a:spLocks noGrp="1"/>
          </p:cNvSpPr>
          <p:nvPr>
            <p:ph type="body" sz="quarter" idx="14" hasCustomPrompt="1"/>
          </p:nvPr>
        </p:nvSpPr>
        <p:spPr>
          <a:xfrm>
            <a:off x="457256" y="457257"/>
            <a:ext cx="1202400" cy="291107"/>
          </a:xfrm>
          <a:prstGeom prst="rect">
            <a:avLst/>
          </a:prstGeom>
          <a:blipFill dpi="0"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1480864035"/>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ilde #2">
    <p:bg>
      <p:bgRef idx="1001">
        <a:schemeClr val="bg2"/>
      </p:bgRef>
    </p:bg>
    <p:spTree>
      <p:nvGrpSpPr>
        <p:cNvPr id="1" name=""/>
        <p:cNvGrpSpPr/>
        <p:nvPr/>
      </p:nvGrpSpPr>
      <p:grpSpPr>
        <a:xfrm>
          <a:off x="0" y="0"/>
          <a:ext cx="0" cy="0"/>
          <a:chOff x="0" y="0"/>
          <a:chExt cx="0" cy="0"/>
        </a:xfrm>
      </p:grpSpPr>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0" y="0"/>
            <a:ext cx="3582448" cy="4654493"/>
          </a:xfrm>
          <a:prstGeom prst="rect">
            <a:avLst/>
          </a:prstGeom>
          <a:solidFill>
            <a:schemeClr val="tx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5F00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15" name="Plassholder for tekst 13">
            <a:extLst>
              <a:ext uri="{FF2B5EF4-FFF2-40B4-BE49-F238E27FC236}">
                <a16:creationId xmlns:a16="http://schemas.microsoft.com/office/drawing/2014/main" id="{013FA124-367D-FBCA-FBBA-333BDE76BD66}"/>
              </a:ext>
            </a:extLst>
          </p:cNvPr>
          <p:cNvSpPr>
            <a:spLocks noGrp="1"/>
          </p:cNvSpPr>
          <p:nvPr>
            <p:ph type="body" sz="quarter" idx="14" hasCustomPrompt="1"/>
          </p:nvPr>
        </p:nvSpPr>
        <p:spPr>
          <a:xfrm>
            <a:off x="457256" y="457257"/>
            <a:ext cx="1202400" cy="291107"/>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1357910969"/>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tellysbilde #2">
    <p:spTree>
      <p:nvGrpSpPr>
        <p:cNvPr id="1" name=""/>
        <p:cNvGrpSpPr/>
        <p:nvPr/>
      </p:nvGrpSpPr>
      <p:grpSpPr>
        <a:xfrm>
          <a:off x="0" y="0"/>
          <a:ext cx="0" cy="0"/>
          <a:chOff x="0" y="0"/>
          <a:chExt cx="0" cy="0"/>
        </a:xfrm>
      </p:grpSpPr>
      <p:pic>
        <p:nvPicPr>
          <p:cNvPr id="17" name="Grafikk 16">
            <a:extLst>
              <a:ext uri="{FF2B5EF4-FFF2-40B4-BE49-F238E27FC236}">
                <a16:creationId xmlns:a16="http://schemas.microsoft.com/office/drawing/2014/main" id="{127236AC-385C-EBE5-7561-BE1CA3C70103}"/>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2442" t="8882" r="24702" b="26576"/>
          <a:stretch/>
        </p:blipFill>
        <p:spPr>
          <a:xfrm>
            <a:off x="0" y="0"/>
            <a:ext cx="9144000" cy="5111750"/>
          </a:xfrm>
          <a:prstGeom prst="rect">
            <a:avLst/>
          </a:prstGeom>
        </p:spPr>
      </p:pic>
      <p:sp>
        <p:nvSpPr>
          <p:cNvPr id="5" name="Plassholder for bunntekst 4">
            <a:extLst>
              <a:ext uri="{FF2B5EF4-FFF2-40B4-BE49-F238E27FC236}">
                <a16:creationId xmlns:a16="http://schemas.microsoft.com/office/drawing/2014/main" id="{5044874A-FADC-7682-CE1B-D61B44B0B01E}"/>
              </a:ext>
            </a:extLst>
          </p:cNvPr>
          <p:cNvSpPr>
            <a:spLocks noGrp="1"/>
          </p:cNvSpPr>
          <p:nvPr>
            <p:ph type="ftr" sz="quarter" idx="11"/>
          </p:nvPr>
        </p:nvSpPr>
        <p:spPr/>
        <p:txBody>
          <a:bodyPr lIns="0" tIns="0" rIns="0" bIns="0"/>
          <a:lstStyle/>
          <a:p>
            <a:endParaRPr lang="nb-NO"/>
          </a:p>
        </p:txBody>
      </p:sp>
      <p:pic>
        <p:nvPicPr>
          <p:cNvPr id="9" name="Grafikk 8">
            <a:extLst>
              <a:ext uri="{FF2B5EF4-FFF2-40B4-BE49-F238E27FC236}">
                <a16:creationId xmlns:a16="http://schemas.microsoft.com/office/drawing/2014/main" id="{15CFC04B-ED1B-B55D-9BD9-0AD91F8A247D}"/>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t="27235" b="36013"/>
          <a:stretch/>
        </p:blipFill>
        <p:spPr>
          <a:xfrm>
            <a:off x="736688" y="1"/>
            <a:ext cx="8337600" cy="5111750"/>
          </a:xfrm>
          <a:prstGeom prst="rect">
            <a:avLst/>
          </a:prstGeom>
        </p:spPr>
      </p:pic>
      <p:sp>
        <p:nvSpPr>
          <p:cNvPr id="2" name="Tittel 1">
            <a:extLst>
              <a:ext uri="{FF2B5EF4-FFF2-40B4-BE49-F238E27FC236}">
                <a16:creationId xmlns:a16="http://schemas.microsoft.com/office/drawing/2014/main" id="{189EBC06-125D-02E3-7D7F-05ADCD9166E1}"/>
              </a:ext>
            </a:extLst>
          </p:cNvPr>
          <p:cNvSpPr>
            <a:spLocks noGrp="1"/>
          </p:cNvSpPr>
          <p:nvPr>
            <p:ph type="ctrTitle"/>
          </p:nvPr>
        </p:nvSpPr>
        <p:spPr>
          <a:xfrm>
            <a:off x="457257" y="2039874"/>
            <a:ext cx="6495086" cy="498598"/>
          </a:xfrm>
        </p:spPr>
        <p:txBody>
          <a:bodyPr wrap="square" lIns="0" tIns="0" rIns="0" bIns="0" anchor="t">
            <a:spAutoFit/>
          </a:bodyPr>
          <a:lstStyle>
            <a:lvl1pPr algn="l">
              <a:defRPr sz="3600"/>
            </a:lvl1pPr>
          </a:lstStyle>
          <a:p>
            <a:r>
              <a:rPr lang="nb-NO"/>
              <a:t>Klikk for å redigere tittelstil</a:t>
            </a:r>
          </a:p>
        </p:txBody>
      </p:sp>
      <p:sp>
        <p:nvSpPr>
          <p:cNvPr id="3" name="Undertittel 2">
            <a:extLst>
              <a:ext uri="{FF2B5EF4-FFF2-40B4-BE49-F238E27FC236}">
                <a16:creationId xmlns:a16="http://schemas.microsoft.com/office/drawing/2014/main" id="{8A9128B6-D639-84D6-CE51-229DD113EC95}"/>
              </a:ext>
            </a:extLst>
          </p:cNvPr>
          <p:cNvSpPr>
            <a:spLocks noGrp="1"/>
          </p:cNvSpPr>
          <p:nvPr>
            <p:ph type="subTitle" idx="1"/>
          </p:nvPr>
        </p:nvSpPr>
        <p:spPr>
          <a:xfrm>
            <a:off x="457257" y="2713880"/>
            <a:ext cx="6495086" cy="193899"/>
          </a:xfrm>
        </p:spPr>
        <p:txBody>
          <a:bodyPr lIns="0" tIns="0" rIns="0" bIns="0">
            <a:spAutoFit/>
          </a:bodyPr>
          <a:lstStyle>
            <a:lvl1pPr marL="0" indent="0" algn="l">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20681BD6-E2BE-C975-4AF7-B057CF7B9067}"/>
              </a:ext>
            </a:extLst>
          </p:cNvPr>
          <p:cNvSpPr>
            <a:spLocks noGrp="1"/>
          </p:cNvSpPr>
          <p:nvPr>
            <p:ph type="dt" sz="half" idx="10"/>
          </p:nvPr>
        </p:nvSpPr>
        <p:spPr>
          <a:xfrm>
            <a:off x="457257" y="3126755"/>
            <a:ext cx="2057400" cy="153888"/>
          </a:xfrm>
        </p:spPr>
        <p:txBody>
          <a:bodyPr lIns="0" tIns="0" rIns="0" bIns="0"/>
          <a:lstStyle>
            <a:lvl1pPr>
              <a:defRPr sz="1000"/>
            </a:lvl1pPr>
          </a:lstStyle>
          <a:p>
            <a:r>
              <a:rPr lang="nb-NO"/>
              <a:t>Oslo, dd.mm.yyyy</a:t>
            </a:r>
          </a:p>
        </p:txBody>
      </p:sp>
      <p:sp>
        <p:nvSpPr>
          <p:cNvPr id="6" name="Plassholder for lysbildenummer 5">
            <a:extLst>
              <a:ext uri="{FF2B5EF4-FFF2-40B4-BE49-F238E27FC236}">
                <a16:creationId xmlns:a16="http://schemas.microsoft.com/office/drawing/2014/main" id="{09C3D943-CF29-F519-F396-74A07D368CCF}"/>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pic>
        <p:nvPicPr>
          <p:cNvPr id="7" name="Grafikk 6">
            <a:extLst>
              <a:ext uri="{FF2B5EF4-FFF2-40B4-BE49-F238E27FC236}">
                <a16:creationId xmlns:a16="http://schemas.microsoft.com/office/drawing/2014/main" id="{D3645C4E-B90B-D676-13B7-A6F36B63621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57257" y="457257"/>
            <a:ext cx="1530000" cy="370421"/>
          </a:xfrm>
          <a:prstGeom prst="rect">
            <a:avLst/>
          </a:prstGeom>
        </p:spPr>
      </p:pic>
    </p:spTree>
    <p:extLst>
      <p:ext uri="{BB962C8B-B14F-4D97-AF65-F5344CB8AC3E}">
        <p14:creationId xmlns:p14="http://schemas.microsoft.com/office/powerpoint/2010/main" val="22598450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Only" preserve="1">
  <p:cSld name="Tittel og 3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15F083A-8242-0524-80C0-48DFC0E268C7}"/>
              </a:ext>
            </a:extLst>
          </p:cNvPr>
          <p:cNvSpPr>
            <a:spLocks noGrp="1"/>
          </p:cNvSpPr>
          <p:nvPr>
            <p:ph type="title"/>
          </p:nvPr>
        </p:nvSpPr>
        <p:spPr>
          <a:xfrm>
            <a:off x="457257" y="897051"/>
            <a:ext cx="8229486" cy="664797"/>
          </a:xfrm>
        </p:spPr>
        <p:txBody>
          <a:bodyPr lIns="0" tIns="0" rIns="0" bIns="0"/>
          <a:lstStyle/>
          <a:p>
            <a:r>
              <a:rPr lang="nb-NO"/>
              <a:t>Klikk for å redigere tittelstil</a:t>
            </a:r>
          </a:p>
        </p:txBody>
      </p:sp>
      <p:sp>
        <p:nvSpPr>
          <p:cNvPr id="3" name="Plassholder for dato 2">
            <a:extLst>
              <a:ext uri="{FF2B5EF4-FFF2-40B4-BE49-F238E27FC236}">
                <a16:creationId xmlns:a16="http://schemas.microsoft.com/office/drawing/2014/main" id="{4E8C16F5-32E8-931A-216C-F29C6892F5B8}"/>
              </a:ext>
            </a:extLst>
          </p:cNvPr>
          <p:cNvSpPr>
            <a:spLocks noGrp="1"/>
          </p:cNvSpPr>
          <p:nvPr>
            <p:ph type="dt" sz="half" idx="10"/>
          </p:nvPr>
        </p:nvSpPr>
        <p:spPr/>
        <p:txBody>
          <a:bodyPr lIns="0" tIns="0" rIns="0" bIns="0"/>
          <a:lstStyle/>
          <a:p>
            <a:r>
              <a:rPr lang="nb-NO"/>
              <a:t>Oslo, dd.mm.yyyy</a:t>
            </a:r>
          </a:p>
        </p:txBody>
      </p:sp>
      <p:sp>
        <p:nvSpPr>
          <p:cNvPr id="4" name="Plassholder for bunntekst 3">
            <a:extLst>
              <a:ext uri="{FF2B5EF4-FFF2-40B4-BE49-F238E27FC236}">
                <a16:creationId xmlns:a16="http://schemas.microsoft.com/office/drawing/2014/main" id="{E92FD23E-9391-0B96-4714-790BDD2CA5F0}"/>
              </a:ext>
            </a:extLst>
          </p:cNvPr>
          <p:cNvSpPr>
            <a:spLocks noGrp="1"/>
          </p:cNvSpPr>
          <p:nvPr>
            <p:ph type="ftr" sz="quarter" idx="11"/>
          </p:nvPr>
        </p:nvSpPr>
        <p:spPr/>
        <p:txBody>
          <a:bodyPr lIns="0" tIns="0" rIns="0" bIns="0"/>
          <a:lstStyle/>
          <a:p>
            <a:endParaRPr lang="nb-NO"/>
          </a:p>
        </p:txBody>
      </p:sp>
      <p:sp>
        <p:nvSpPr>
          <p:cNvPr id="5" name="Plassholder for lysbildenummer 4">
            <a:extLst>
              <a:ext uri="{FF2B5EF4-FFF2-40B4-BE49-F238E27FC236}">
                <a16:creationId xmlns:a16="http://schemas.microsoft.com/office/drawing/2014/main" id="{67637BAE-6B5B-AB02-038F-56A0927D3919}"/>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sp>
        <p:nvSpPr>
          <p:cNvPr id="6" name="Rektangel 5">
            <a:extLst>
              <a:ext uri="{FF2B5EF4-FFF2-40B4-BE49-F238E27FC236}">
                <a16:creationId xmlns:a16="http://schemas.microsoft.com/office/drawing/2014/main" id="{7646EA35-F0E0-A802-CEFA-464D6250911C}"/>
              </a:ext>
            </a:extLst>
          </p:cNvPr>
          <p:cNvSpPr/>
          <p:nvPr userDrawn="1"/>
        </p:nvSpPr>
        <p:spPr>
          <a:xfrm>
            <a:off x="-1" y="2917276"/>
            <a:ext cx="3045600" cy="2194474"/>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B3610D67-829F-7753-DAA3-D434EEA73AC5}"/>
              </a:ext>
            </a:extLst>
          </p:cNvPr>
          <p:cNvSpPr/>
          <p:nvPr userDrawn="1"/>
        </p:nvSpPr>
        <p:spPr>
          <a:xfrm>
            <a:off x="3061066" y="2917276"/>
            <a:ext cx="3045600" cy="2194474"/>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Rektangel 8">
            <a:extLst>
              <a:ext uri="{FF2B5EF4-FFF2-40B4-BE49-F238E27FC236}">
                <a16:creationId xmlns:a16="http://schemas.microsoft.com/office/drawing/2014/main" id="{9EE381F8-6F7C-2553-D5D3-B419E77AED5C}"/>
              </a:ext>
            </a:extLst>
          </p:cNvPr>
          <p:cNvSpPr/>
          <p:nvPr userDrawn="1"/>
        </p:nvSpPr>
        <p:spPr>
          <a:xfrm>
            <a:off x="6116022" y="2917276"/>
            <a:ext cx="3027978" cy="2194474"/>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Plassholder for bilde 9">
            <a:extLst>
              <a:ext uri="{FF2B5EF4-FFF2-40B4-BE49-F238E27FC236}">
                <a16:creationId xmlns:a16="http://schemas.microsoft.com/office/drawing/2014/main" id="{74D47579-561A-1035-B1F4-2F2E2A2DC0BC}"/>
              </a:ext>
            </a:extLst>
          </p:cNvPr>
          <p:cNvSpPr>
            <a:spLocks noGrp="1"/>
          </p:cNvSpPr>
          <p:nvPr>
            <p:ph type="pic" idx="13"/>
          </p:nvPr>
        </p:nvSpPr>
        <p:spPr>
          <a:xfrm>
            <a:off x="457258" y="1631616"/>
            <a:ext cx="1968762" cy="1587798"/>
          </a:xfrm>
          <a:solidFill>
            <a:schemeClr val="bg1">
              <a:lumMod val="85000"/>
            </a:schemeClr>
          </a:solidFill>
        </p:spPr>
        <p:txBody>
          <a:bodyPr tIns="429611">
            <a:normAutofit/>
          </a:bodyPr>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2" name="Plassholder for tekst 11">
            <a:extLst>
              <a:ext uri="{FF2B5EF4-FFF2-40B4-BE49-F238E27FC236}">
                <a16:creationId xmlns:a16="http://schemas.microsoft.com/office/drawing/2014/main" id="{032AFE5F-B141-8A02-90F1-BA438010E43A}"/>
              </a:ext>
            </a:extLst>
          </p:cNvPr>
          <p:cNvSpPr>
            <a:spLocks noGrp="1"/>
          </p:cNvSpPr>
          <p:nvPr>
            <p:ph type="body" sz="quarter" idx="14"/>
          </p:nvPr>
        </p:nvSpPr>
        <p:spPr>
          <a:xfrm>
            <a:off x="457258" y="2914564"/>
            <a:ext cx="1968762" cy="584209"/>
          </a:xfrm>
          <a:prstGeom prst="rect">
            <a:avLst/>
          </a:prstGeom>
          <a:solidFill>
            <a:schemeClr val="dk2"/>
          </a:solidFill>
        </p:spPr>
        <p:txBody>
          <a:bodyPr lIns="0" tIns="0" rIns="0" bIns="0" anchor="ctr"/>
          <a:lstStyle>
            <a:lvl1pPr marL="0" indent="0" algn="ctr">
              <a:buNone/>
              <a:defRPr sz="1200" b="1">
                <a:solidFill>
                  <a:schemeClr val="lt1"/>
                </a:solidFill>
              </a:defRPr>
            </a:lvl1pPr>
            <a:lvl2pPr marL="279400" indent="0">
              <a:buNone/>
              <a:defRPr sz="1200" b="1"/>
            </a:lvl2pPr>
            <a:lvl3pPr>
              <a:defRPr sz="1200" b="1"/>
            </a:lvl3pPr>
            <a:lvl4pPr>
              <a:defRPr sz="1200" b="1"/>
            </a:lvl4pPr>
            <a:lvl5pPr>
              <a:defRPr sz="1200" b="1"/>
            </a:lvl5pPr>
          </a:lstStyle>
          <a:p>
            <a:pPr lvl="0"/>
            <a:r>
              <a:rPr lang="nb-NO"/>
              <a:t>Klikk for å redigere tekststiler i malen</a:t>
            </a:r>
          </a:p>
        </p:txBody>
      </p:sp>
      <p:sp>
        <p:nvSpPr>
          <p:cNvPr id="13" name="Plassholder for tekst 12">
            <a:extLst>
              <a:ext uri="{FF2B5EF4-FFF2-40B4-BE49-F238E27FC236}">
                <a16:creationId xmlns:a16="http://schemas.microsoft.com/office/drawing/2014/main" id="{0AADA2E9-4EB7-A342-3AAD-92D5568B0198}"/>
              </a:ext>
            </a:extLst>
          </p:cNvPr>
          <p:cNvSpPr>
            <a:spLocks noGrp="1"/>
          </p:cNvSpPr>
          <p:nvPr>
            <p:ph type="body" sz="quarter" idx="15"/>
          </p:nvPr>
        </p:nvSpPr>
        <p:spPr>
          <a:xfrm>
            <a:off x="457259" y="3771311"/>
            <a:ext cx="1968762" cy="1010410"/>
          </a:xfrm>
          <a:prstGeom prst="rect">
            <a:avLst/>
          </a:prstGeom>
        </p:spPr>
        <p:txBody>
          <a:bodyPr lIns="0" tIns="0" rIns="0" bIns="0"/>
          <a:lstStyle>
            <a:lvl1pPr marL="90000" indent="-90000">
              <a:defRPr/>
            </a:lvl1pPr>
          </a:lstStyle>
          <a:p>
            <a:pPr lvl="0"/>
            <a:r>
              <a:rPr lang="nb-NO"/>
              <a:t>Klikk for å redigere tekststiler i malen</a:t>
            </a:r>
          </a:p>
        </p:txBody>
      </p:sp>
      <p:sp>
        <p:nvSpPr>
          <p:cNvPr id="15" name="Plassholder for bilde 9">
            <a:extLst>
              <a:ext uri="{FF2B5EF4-FFF2-40B4-BE49-F238E27FC236}">
                <a16:creationId xmlns:a16="http://schemas.microsoft.com/office/drawing/2014/main" id="{4E42518D-FA05-425F-F143-37D2998FDFC1}"/>
              </a:ext>
            </a:extLst>
          </p:cNvPr>
          <p:cNvSpPr>
            <a:spLocks noGrp="1"/>
          </p:cNvSpPr>
          <p:nvPr>
            <p:ph type="pic" idx="16"/>
          </p:nvPr>
        </p:nvSpPr>
        <p:spPr>
          <a:xfrm>
            <a:off x="3587619" y="1631616"/>
            <a:ext cx="1968762" cy="1587798"/>
          </a:xfrm>
          <a:solidFill>
            <a:schemeClr val="bg1">
              <a:lumMod val="85000"/>
            </a:schemeClr>
          </a:solidFill>
        </p:spPr>
        <p:txBody>
          <a:bodyPr tIns="429611">
            <a:normAutofit/>
          </a:bodyPr>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6" name="Plassholder for tekst 11">
            <a:extLst>
              <a:ext uri="{FF2B5EF4-FFF2-40B4-BE49-F238E27FC236}">
                <a16:creationId xmlns:a16="http://schemas.microsoft.com/office/drawing/2014/main" id="{2E36F93E-5B24-78B5-D4D3-CFF61E4D95C9}"/>
              </a:ext>
            </a:extLst>
          </p:cNvPr>
          <p:cNvSpPr>
            <a:spLocks noGrp="1"/>
          </p:cNvSpPr>
          <p:nvPr>
            <p:ph type="body" sz="quarter" idx="17"/>
          </p:nvPr>
        </p:nvSpPr>
        <p:spPr>
          <a:xfrm>
            <a:off x="3587619" y="2914564"/>
            <a:ext cx="1968762" cy="584209"/>
          </a:xfrm>
          <a:prstGeom prst="rect">
            <a:avLst/>
          </a:prstGeom>
          <a:solidFill>
            <a:schemeClr val="dk2"/>
          </a:solidFill>
        </p:spPr>
        <p:txBody>
          <a:bodyPr lIns="0" tIns="0" rIns="0" bIns="0" anchor="ctr"/>
          <a:lstStyle>
            <a:lvl1pPr marL="0" indent="0" algn="ctr">
              <a:buNone/>
              <a:defRPr sz="1200" b="1">
                <a:solidFill>
                  <a:schemeClr val="lt1"/>
                </a:solidFill>
              </a:defRPr>
            </a:lvl1pPr>
            <a:lvl2pPr marL="279400" indent="0">
              <a:buNone/>
              <a:defRPr sz="1200" b="1"/>
            </a:lvl2pPr>
            <a:lvl3pPr>
              <a:defRPr sz="1200" b="1"/>
            </a:lvl3pPr>
            <a:lvl4pPr>
              <a:defRPr sz="1200" b="1"/>
            </a:lvl4pPr>
            <a:lvl5pPr>
              <a:defRPr sz="1200" b="1"/>
            </a:lvl5pPr>
          </a:lstStyle>
          <a:p>
            <a:pPr lvl="0"/>
            <a:r>
              <a:rPr lang="nb-NO"/>
              <a:t>Klikk for å redigere tekststiler i malen</a:t>
            </a:r>
          </a:p>
        </p:txBody>
      </p:sp>
      <p:sp>
        <p:nvSpPr>
          <p:cNvPr id="17" name="Plassholder for tekst 12">
            <a:extLst>
              <a:ext uri="{FF2B5EF4-FFF2-40B4-BE49-F238E27FC236}">
                <a16:creationId xmlns:a16="http://schemas.microsoft.com/office/drawing/2014/main" id="{B363DA32-0871-CC31-0331-700AE140CE71}"/>
              </a:ext>
            </a:extLst>
          </p:cNvPr>
          <p:cNvSpPr>
            <a:spLocks noGrp="1"/>
          </p:cNvSpPr>
          <p:nvPr>
            <p:ph type="body" sz="quarter" idx="18"/>
          </p:nvPr>
        </p:nvSpPr>
        <p:spPr>
          <a:xfrm>
            <a:off x="3587620" y="3771311"/>
            <a:ext cx="1968762" cy="1010410"/>
          </a:xfrm>
          <a:prstGeom prst="rect">
            <a:avLst/>
          </a:prstGeom>
        </p:spPr>
        <p:txBody>
          <a:bodyPr lIns="0" tIns="0" rIns="0" bIns="0"/>
          <a:lstStyle>
            <a:lvl1pPr marL="90000" indent="-90000">
              <a:defRPr/>
            </a:lvl1pPr>
          </a:lstStyle>
          <a:p>
            <a:pPr lvl="0"/>
            <a:r>
              <a:rPr lang="nb-NO"/>
              <a:t>Klikk for å redigere tekststiler i malen</a:t>
            </a:r>
          </a:p>
        </p:txBody>
      </p:sp>
      <p:sp>
        <p:nvSpPr>
          <p:cNvPr id="18" name="Plassholder for bilde 9">
            <a:extLst>
              <a:ext uri="{FF2B5EF4-FFF2-40B4-BE49-F238E27FC236}">
                <a16:creationId xmlns:a16="http://schemas.microsoft.com/office/drawing/2014/main" id="{EBC16840-01B4-C460-A692-F8CFB036901A}"/>
              </a:ext>
            </a:extLst>
          </p:cNvPr>
          <p:cNvSpPr>
            <a:spLocks noGrp="1"/>
          </p:cNvSpPr>
          <p:nvPr>
            <p:ph type="pic" idx="19"/>
          </p:nvPr>
        </p:nvSpPr>
        <p:spPr>
          <a:xfrm>
            <a:off x="6717980" y="1631616"/>
            <a:ext cx="1968762" cy="1587798"/>
          </a:xfrm>
          <a:solidFill>
            <a:schemeClr val="bg1">
              <a:lumMod val="85000"/>
            </a:schemeClr>
          </a:solidFill>
        </p:spPr>
        <p:txBody>
          <a:bodyPr tIns="429611">
            <a:normAutofit/>
          </a:bodyPr>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9" name="Plassholder for tekst 11">
            <a:extLst>
              <a:ext uri="{FF2B5EF4-FFF2-40B4-BE49-F238E27FC236}">
                <a16:creationId xmlns:a16="http://schemas.microsoft.com/office/drawing/2014/main" id="{AA6A037C-7F5E-F887-58CA-FDCA9C1575FB}"/>
              </a:ext>
            </a:extLst>
          </p:cNvPr>
          <p:cNvSpPr>
            <a:spLocks noGrp="1"/>
          </p:cNvSpPr>
          <p:nvPr>
            <p:ph type="body" sz="quarter" idx="20"/>
          </p:nvPr>
        </p:nvSpPr>
        <p:spPr>
          <a:xfrm>
            <a:off x="6717980" y="2914564"/>
            <a:ext cx="1968762" cy="584209"/>
          </a:xfrm>
          <a:prstGeom prst="rect">
            <a:avLst/>
          </a:prstGeom>
          <a:solidFill>
            <a:schemeClr val="dk2"/>
          </a:solidFill>
        </p:spPr>
        <p:txBody>
          <a:bodyPr lIns="0" tIns="0" rIns="0" bIns="0" anchor="ctr"/>
          <a:lstStyle>
            <a:lvl1pPr marL="0" indent="0" algn="ctr">
              <a:buNone/>
              <a:defRPr sz="1200" b="1">
                <a:solidFill>
                  <a:schemeClr val="lt1"/>
                </a:solidFill>
              </a:defRPr>
            </a:lvl1pPr>
            <a:lvl2pPr marL="279400" indent="0">
              <a:buNone/>
              <a:defRPr sz="1200" b="1"/>
            </a:lvl2pPr>
            <a:lvl3pPr>
              <a:defRPr sz="1200" b="1"/>
            </a:lvl3pPr>
            <a:lvl4pPr>
              <a:defRPr sz="1200" b="1"/>
            </a:lvl4pPr>
            <a:lvl5pPr>
              <a:defRPr sz="1200" b="1"/>
            </a:lvl5pPr>
          </a:lstStyle>
          <a:p>
            <a:pPr lvl="0"/>
            <a:r>
              <a:rPr lang="nb-NO"/>
              <a:t>Klikk for å redigere tekststiler i malen</a:t>
            </a:r>
          </a:p>
        </p:txBody>
      </p:sp>
      <p:sp>
        <p:nvSpPr>
          <p:cNvPr id="20" name="Plassholder for tekst 12">
            <a:extLst>
              <a:ext uri="{FF2B5EF4-FFF2-40B4-BE49-F238E27FC236}">
                <a16:creationId xmlns:a16="http://schemas.microsoft.com/office/drawing/2014/main" id="{6CFECE86-FC91-2A0C-8308-B54DDD05C39C}"/>
              </a:ext>
            </a:extLst>
          </p:cNvPr>
          <p:cNvSpPr>
            <a:spLocks noGrp="1"/>
          </p:cNvSpPr>
          <p:nvPr>
            <p:ph type="body" sz="quarter" idx="21"/>
          </p:nvPr>
        </p:nvSpPr>
        <p:spPr>
          <a:xfrm>
            <a:off x="6717981" y="3771311"/>
            <a:ext cx="1968762" cy="1010410"/>
          </a:xfrm>
          <a:prstGeom prst="rect">
            <a:avLst/>
          </a:prstGeom>
        </p:spPr>
        <p:txBody>
          <a:bodyPr lIns="0" tIns="0" rIns="0" bIns="0"/>
          <a:lstStyle>
            <a:lvl1pPr marL="90000" indent="-90000">
              <a:defRPr/>
            </a:lvl1pPr>
          </a:lstStyle>
          <a:p>
            <a:pPr lvl="0"/>
            <a:r>
              <a:rPr lang="nb-NO"/>
              <a:t>Klikk for å redigere tekststiler i malen</a:t>
            </a:r>
          </a:p>
        </p:txBody>
      </p:sp>
    </p:spTree>
    <p:extLst>
      <p:ext uri="{BB962C8B-B14F-4D97-AF65-F5344CB8AC3E}">
        <p14:creationId xmlns:p14="http://schemas.microsoft.com/office/powerpoint/2010/main" val="11867673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15F083A-8242-0524-80C0-48DFC0E268C7}"/>
              </a:ext>
            </a:extLst>
          </p:cNvPr>
          <p:cNvSpPr>
            <a:spLocks noGrp="1"/>
          </p:cNvSpPr>
          <p:nvPr>
            <p:ph type="title"/>
          </p:nvPr>
        </p:nvSpPr>
        <p:spPr/>
        <p:txBody>
          <a:bodyPr lIns="0" tIns="0" rIns="0" bIns="0"/>
          <a:lstStyle/>
          <a:p>
            <a:r>
              <a:rPr lang="nb-NO"/>
              <a:t>Klikk for å redigere tittelstil</a:t>
            </a:r>
          </a:p>
        </p:txBody>
      </p:sp>
      <p:sp>
        <p:nvSpPr>
          <p:cNvPr id="3" name="Plassholder for dato 2">
            <a:extLst>
              <a:ext uri="{FF2B5EF4-FFF2-40B4-BE49-F238E27FC236}">
                <a16:creationId xmlns:a16="http://schemas.microsoft.com/office/drawing/2014/main" id="{4E8C16F5-32E8-931A-216C-F29C6892F5B8}"/>
              </a:ext>
            </a:extLst>
          </p:cNvPr>
          <p:cNvSpPr>
            <a:spLocks noGrp="1"/>
          </p:cNvSpPr>
          <p:nvPr>
            <p:ph type="dt" sz="half" idx="10"/>
          </p:nvPr>
        </p:nvSpPr>
        <p:spPr/>
        <p:txBody>
          <a:bodyPr lIns="0" tIns="0" rIns="0" bIns="0"/>
          <a:lstStyle/>
          <a:p>
            <a:r>
              <a:rPr lang="nb-NO"/>
              <a:t>Oslo, dd.mm.yyyy</a:t>
            </a:r>
          </a:p>
        </p:txBody>
      </p:sp>
      <p:sp>
        <p:nvSpPr>
          <p:cNvPr id="4" name="Plassholder for bunntekst 3">
            <a:extLst>
              <a:ext uri="{FF2B5EF4-FFF2-40B4-BE49-F238E27FC236}">
                <a16:creationId xmlns:a16="http://schemas.microsoft.com/office/drawing/2014/main" id="{E92FD23E-9391-0B96-4714-790BDD2CA5F0}"/>
              </a:ext>
            </a:extLst>
          </p:cNvPr>
          <p:cNvSpPr>
            <a:spLocks noGrp="1"/>
          </p:cNvSpPr>
          <p:nvPr>
            <p:ph type="ftr" sz="quarter" idx="11"/>
          </p:nvPr>
        </p:nvSpPr>
        <p:spPr/>
        <p:txBody>
          <a:bodyPr lIns="0" tIns="0" rIns="0" bIns="0"/>
          <a:lstStyle/>
          <a:p>
            <a:endParaRPr lang="nb-NO"/>
          </a:p>
        </p:txBody>
      </p:sp>
      <p:sp>
        <p:nvSpPr>
          <p:cNvPr id="5" name="Plassholder for lysbildenummer 4">
            <a:extLst>
              <a:ext uri="{FF2B5EF4-FFF2-40B4-BE49-F238E27FC236}">
                <a16:creationId xmlns:a16="http://schemas.microsoft.com/office/drawing/2014/main" id="{67637BAE-6B5B-AB02-038F-56A0927D3919}"/>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spTree>
    <p:extLst>
      <p:ext uri="{BB962C8B-B14F-4D97-AF65-F5344CB8AC3E}">
        <p14:creationId xmlns:p14="http://schemas.microsoft.com/office/powerpoint/2010/main" val="24117749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Hvileside">
    <p:bg>
      <p:bgPr>
        <a:solidFill>
          <a:srgbClr val="8C00FC"/>
        </a:solidFill>
        <a:effectLst/>
      </p:bgPr>
    </p:bg>
    <p:spTree>
      <p:nvGrpSpPr>
        <p:cNvPr id="1" name=""/>
        <p:cNvGrpSpPr/>
        <p:nvPr/>
      </p:nvGrpSpPr>
      <p:grpSpPr>
        <a:xfrm>
          <a:off x="0" y="0"/>
          <a:ext cx="0" cy="0"/>
          <a:chOff x="0" y="0"/>
          <a:chExt cx="0" cy="0"/>
        </a:xfrm>
      </p:grpSpPr>
      <p:pic>
        <p:nvPicPr>
          <p:cNvPr id="6" name="Grafikk 5">
            <a:extLst>
              <a:ext uri="{FF2B5EF4-FFF2-40B4-BE49-F238E27FC236}">
                <a16:creationId xmlns:a16="http://schemas.microsoft.com/office/drawing/2014/main" id="{C6507BDE-C397-F11A-6079-DAFE03A28953}"/>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26493" t="29293"/>
          <a:stretch/>
        </p:blipFill>
        <p:spPr>
          <a:xfrm>
            <a:off x="0" y="0"/>
            <a:ext cx="9144000" cy="5111750"/>
          </a:xfrm>
          <a:prstGeom prst="rect">
            <a:avLst/>
          </a:prstGeom>
        </p:spPr>
      </p:pic>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a:noFill/>
        </p:spPr>
        <p:txBody>
          <a:bodyPr lIns="0" tIns="0" rIns="0" bIns="0"/>
          <a:lstStyle>
            <a:lvl1pPr>
              <a:defRPr>
                <a:solidFill>
                  <a:schemeClr val="lt1"/>
                </a:solidFill>
              </a:defRPr>
            </a:lvl1pPr>
          </a:lstStyle>
          <a:p>
            <a:fld id="{20EE8A8A-9F66-4500-8547-91D11C77B4B7}" type="slidenum">
              <a:rPr lang="nb-NO" smtClean="0"/>
              <a:pPr/>
              <a:t>‹#›</a:t>
            </a:fld>
            <a:endParaRPr lang="nb-NO"/>
          </a:p>
        </p:txBody>
      </p:sp>
      <p:pic>
        <p:nvPicPr>
          <p:cNvPr id="7" name="Grafikk 6">
            <a:extLst>
              <a:ext uri="{FF2B5EF4-FFF2-40B4-BE49-F238E27FC236}">
                <a16:creationId xmlns:a16="http://schemas.microsoft.com/office/drawing/2014/main" id="{69B9F52B-5A3F-77E9-E1AC-EAF6B211500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7256" y="457257"/>
            <a:ext cx="1202400" cy="291107"/>
          </a:xfrm>
          <a:prstGeom prst="rect">
            <a:avLst/>
          </a:prstGeom>
        </p:spPr>
      </p:pic>
    </p:spTree>
    <p:extLst>
      <p:ext uri="{BB962C8B-B14F-4D97-AF65-F5344CB8AC3E}">
        <p14:creationId xmlns:p14="http://schemas.microsoft.com/office/powerpoint/2010/main" val="24101568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spTree>
    <p:extLst>
      <p:ext uri="{BB962C8B-B14F-4D97-AF65-F5344CB8AC3E}">
        <p14:creationId xmlns:p14="http://schemas.microsoft.com/office/powerpoint/2010/main" val="3964826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blank" preserve="1">
  <p:cSld name="Tomt lilla">
    <p:bg>
      <p:bgPr>
        <a:solidFill>
          <a:srgbClr val="8C00FC"/>
        </a:solidFill>
        <a:effectLst/>
      </p:bgPr>
    </p:bg>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a:noFill/>
        </p:spPr>
        <p:txBody>
          <a:bodyPr lIns="0" tIns="0" rIns="0" bIns="0"/>
          <a:lstStyle>
            <a:lvl1pPr>
              <a:defRPr>
                <a:solidFill>
                  <a:schemeClr val="lt1"/>
                </a:solidFill>
              </a:defRPr>
            </a:lvl1pPr>
          </a:lstStyle>
          <a:p>
            <a:fld id="{20EE8A8A-9F66-4500-8547-91D11C77B4B7}" type="slidenum">
              <a:rPr lang="nb-NO" smtClean="0"/>
              <a:pPr/>
              <a:t>‹#›</a:t>
            </a:fld>
            <a:endParaRPr lang="nb-NO"/>
          </a:p>
        </p:txBody>
      </p:sp>
    </p:spTree>
    <p:extLst>
      <p:ext uri="{BB962C8B-B14F-4D97-AF65-F5344CB8AC3E}">
        <p14:creationId xmlns:p14="http://schemas.microsoft.com/office/powerpoint/2010/main" val="5348067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reserve="1">
  <p:cSld name="Tomt indigo">
    <p:bg>
      <p:bgPr>
        <a:solidFill>
          <a:srgbClr val="5F00C2"/>
        </a:solidFill>
        <a:effectLst/>
      </p:bgPr>
    </p:bg>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Tree>
    <p:extLst>
      <p:ext uri="{BB962C8B-B14F-4D97-AF65-F5344CB8AC3E}">
        <p14:creationId xmlns:p14="http://schemas.microsoft.com/office/powerpoint/2010/main" val="32898973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Tomt lime">
    <p:bg>
      <p:bgPr>
        <a:solidFill>
          <a:srgbClr val="4BF0C5"/>
        </a:solidFill>
        <a:effectLst/>
      </p:bgPr>
    </p:bg>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spTree>
    <p:extLst>
      <p:ext uri="{BB962C8B-B14F-4D97-AF65-F5344CB8AC3E}">
        <p14:creationId xmlns:p14="http://schemas.microsoft.com/office/powerpoint/2010/main" val="7930242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Tomt grønn">
    <p:bg>
      <p:bgPr>
        <a:solidFill>
          <a:srgbClr val="00583C"/>
        </a:solidFill>
        <a:effectLst/>
      </p:bgPr>
    </p:bg>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Tree>
    <p:extLst>
      <p:ext uri="{BB962C8B-B14F-4D97-AF65-F5344CB8AC3E}">
        <p14:creationId xmlns:p14="http://schemas.microsoft.com/office/powerpoint/2010/main" val="12692863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akside #1">
    <p:bg>
      <p:bgPr>
        <a:solidFill>
          <a:srgbClr val="8C00FC"/>
        </a:solidFill>
        <a:effectLst/>
      </p:bgPr>
    </p:bg>
    <p:spTree>
      <p:nvGrpSpPr>
        <p:cNvPr id="1" name=""/>
        <p:cNvGrpSpPr/>
        <p:nvPr/>
      </p:nvGrpSpPr>
      <p:grpSpPr>
        <a:xfrm>
          <a:off x="0" y="0"/>
          <a:ext cx="0" cy="0"/>
          <a:chOff x="0" y="0"/>
          <a:chExt cx="0" cy="0"/>
        </a:xfrm>
      </p:grpSpPr>
      <p:pic>
        <p:nvPicPr>
          <p:cNvPr id="6" name="Grafikk 5">
            <a:extLst>
              <a:ext uri="{FF2B5EF4-FFF2-40B4-BE49-F238E27FC236}">
                <a16:creationId xmlns:a16="http://schemas.microsoft.com/office/drawing/2014/main" id="{A11C50B3-6FB3-7FC0-04CC-9F1AA64FA5F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3175"/>
            <a:ext cx="9144000" cy="5105400"/>
          </a:xfrm>
          <a:prstGeom prst="rect">
            <a:avLst/>
          </a:prstGeom>
        </p:spPr>
      </p:pic>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a:xfrm>
            <a:off x="0" y="-71415"/>
            <a:ext cx="2057400" cy="15389"/>
          </a:xfrm>
          <a:noFill/>
        </p:spPr>
        <p:txBody>
          <a:bodyPr lIns="0" tIns="0" rIns="0" bIns="0"/>
          <a:lstStyle>
            <a:lvl1pPr>
              <a:defRPr sz="100">
                <a:solidFill>
                  <a:schemeClr val="lt1"/>
                </a:solidFill>
              </a:defRPr>
            </a:lvl1pPr>
          </a:lstStyle>
          <a:p>
            <a:fld id="{20EE8A8A-9F66-4500-8547-91D11C77B4B7}" type="slidenum">
              <a:rPr lang="nb-NO" smtClean="0"/>
              <a:pPr/>
              <a:t>‹#›</a:t>
            </a:fld>
            <a:endParaRPr lang="nb-NO"/>
          </a:p>
        </p:txBody>
      </p:sp>
      <p:sp>
        <p:nvSpPr>
          <p:cNvPr id="7" name="Rektangel 6">
            <a:extLst>
              <a:ext uri="{FF2B5EF4-FFF2-40B4-BE49-F238E27FC236}">
                <a16:creationId xmlns:a16="http://schemas.microsoft.com/office/drawing/2014/main" id="{F093906E-1006-489A-0CC9-0A0171C76CCE}"/>
              </a:ext>
            </a:extLst>
          </p:cNvPr>
          <p:cNvSpPr/>
          <p:nvPr userDrawn="1"/>
        </p:nvSpPr>
        <p:spPr>
          <a:xfrm>
            <a:off x="3838575" y="2133600"/>
            <a:ext cx="1457325" cy="819150"/>
          </a:xfrm>
          <a:prstGeom prst="rect">
            <a:avLst/>
          </a:prstGeom>
          <a:solidFill>
            <a:srgbClr val="8A00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5" name="Grafikk 4">
            <a:extLst>
              <a:ext uri="{FF2B5EF4-FFF2-40B4-BE49-F238E27FC236}">
                <a16:creationId xmlns:a16="http://schemas.microsoft.com/office/drawing/2014/main" id="{22ED8C9F-DD38-6BC0-4A88-9916AB4EF59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62210" y="2311399"/>
            <a:ext cx="2019580" cy="488952"/>
          </a:xfrm>
          <a:prstGeom prst="rect">
            <a:avLst/>
          </a:prstGeom>
        </p:spPr>
      </p:pic>
    </p:spTree>
    <p:extLst>
      <p:ext uri="{BB962C8B-B14F-4D97-AF65-F5344CB8AC3E}">
        <p14:creationId xmlns:p14="http://schemas.microsoft.com/office/powerpoint/2010/main" val="8504175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akside #2">
    <p:bg>
      <p:bgPr>
        <a:solidFill>
          <a:srgbClr val="8C00FC"/>
        </a:solidFill>
        <a:effectLst/>
      </p:bgPr>
    </p:bg>
    <p:spTree>
      <p:nvGrpSpPr>
        <p:cNvPr id="1" name=""/>
        <p:cNvGrpSpPr/>
        <p:nvPr/>
      </p:nvGrpSpPr>
      <p:grpSpPr>
        <a:xfrm>
          <a:off x="0" y="0"/>
          <a:ext cx="0" cy="0"/>
          <a:chOff x="0" y="0"/>
          <a:chExt cx="0" cy="0"/>
        </a:xfrm>
      </p:grpSpPr>
      <p:pic>
        <p:nvPicPr>
          <p:cNvPr id="7" name="Grafikk 6">
            <a:extLst>
              <a:ext uri="{FF2B5EF4-FFF2-40B4-BE49-F238E27FC236}">
                <a16:creationId xmlns:a16="http://schemas.microsoft.com/office/drawing/2014/main" id="{5CA674F5-1A45-F790-44D0-B65417F6594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3175"/>
            <a:ext cx="9144000" cy="5105400"/>
          </a:xfrm>
          <a:prstGeom prst="rect">
            <a:avLst/>
          </a:prstGeom>
        </p:spPr>
      </p:pic>
      <p:sp>
        <p:nvSpPr>
          <p:cNvPr id="6" name="Rektangel 5">
            <a:extLst>
              <a:ext uri="{FF2B5EF4-FFF2-40B4-BE49-F238E27FC236}">
                <a16:creationId xmlns:a16="http://schemas.microsoft.com/office/drawing/2014/main" id="{0EB01969-A9C0-E6E7-5329-2338815D26AB}"/>
              </a:ext>
            </a:extLst>
          </p:cNvPr>
          <p:cNvSpPr/>
          <p:nvPr userDrawn="1"/>
        </p:nvSpPr>
        <p:spPr>
          <a:xfrm>
            <a:off x="3843337" y="2146300"/>
            <a:ext cx="1457325" cy="819150"/>
          </a:xfrm>
          <a:prstGeom prst="rect">
            <a:avLst/>
          </a:prstGeom>
          <a:solidFill>
            <a:srgbClr val="175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a:xfrm>
            <a:off x="0" y="-71415"/>
            <a:ext cx="2057400" cy="15389"/>
          </a:xfrm>
          <a:noFill/>
        </p:spPr>
        <p:txBody>
          <a:bodyPr lIns="0" tIns="0" rIns="0" bIns="0"/>
          <a:lstStyle>
            <a:lvl1pPr>
              <a:defRPr sz="100">
                <a:solidFill>
                  <a:schemeClr val="lt1"/>
                </a:solidFill>
              </a:defRPr>
            </a:lvl1pPr>
          </a:lstStyle>
          <a:p>
            <a:fld id="{20EE8A8A-9F66-4500-8547-91D11C77B4B7}" type="slidenum">
              <a:rPr lang="nb-NO" smtClean="0"/>
              <a:pPr/>
              <a:t>‹#›</a:t>
            </a:fld>
            <a:endParaRPr lang="nb-NO"/>
          </a:p>
        </p:txBody>
      </p:sp>
      <p:pic>
        <p:nvPicPr>
          <p:cNvPr id="5" name="Grafikk 4">
            <a:extLst>
              <a:ext uri="{FF2B5EF4-FFF2-40B4-BE49-F238E27FC236}">
                <a16:creationId xmlns:a16="http://schemas.microsoft.com/office/drawing/2014/main" id="{1669C3E9-F960-FFB5-6262-5B805F4996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62210" y="2311399"/>
            <a:ext cx="2019580" cy="488952"/>
          </a:xfrm>
          <a:prstGeom prst="rect">
            <a:avLst/>
          </a:prstGeom>
        </p:spPr>
      </p:pic>
    </p:spTree>
    <p:extLst>
      <p:ext uri="{BB962C8B-B14F-4D97-AF65-F5344CB8AC3E}">
        <p14:creationId xmlns:p14="http://schemas.microsoft.com/office/powerpoint/2010/main" val="4483937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ittel og innhold">
    <p:bg>
      <p:bgRef idx="1001">
        <a:schemeClr val="bg2"/>
      </p:bgRef>
    </p:bg>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ECCE8073-0C93-7D9A-9607-EC2F1069AE5A}"/>
              </a:ext>
            </a:extLst>
          </p:cNvPr>
          <p:cNvSpPr/>
          <p:nvPr userDrawn="1"/>
        </p:nvSpPr>
        <p:spPr>
          <a:xfrm>
            <a:off x="0" y="4654493"/>
            <a:ext cx="9145143" cy="457257"/>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83334375-863F-4E79-49BE-58EBF26F28B9}"/>
              </a:ext>
            </a:extLst>
          </p:cNvPr>
          <p:cNvSpPr>
            <a:spLocks noGrp="1"/>
          </p:cNvSpPr>
          <p:nvPr>
            <p:ph type="title"/>
          </p:nvPr>
        </p:nvSpPr>
        <p:spPr>
          <a:xfrm>
            <a:off x="457257" y="1110634"/>
            <a:ext cx="3702960" cy="664797"/>
          </a:xfrm>
        </p:spPr>
        <p:txBody>
          <a:bodyPr lIns="0" tIns="0" rIns="0" bIns="0"/>
          <a:lstStyle/>
          <a:p>
            <a:r>
              <a:rPr lang="nb-NO"/>
              <a:t>Klikk for å redigere tittelstil</a:t>
            </a:r>
          </a:p>
        </p:txBody>
      </p:sp>
      <p:sp>
        <p:nvSpPr>
          <p:cNvPr id="3" name="Plassholder for innhold 2">
            <a:extLst>
              <a:ext uri="{FF2B5EF4-FFF2-40B4-BE49-F238E27FC236}">
                <a16:creationId xmlns:a16="http://schemas.microsoft.com/office/drawing/2014/main" id="{160125C0-A856-B565-F422-9E99F8E2F29B}"/>
              </a:ext>
            </a:extLst>
          </p:cNvPr>
          <p:cNvSpPr>
            <a:spLocks noGrp="1"/>
          </p:cNvSpPr>
          <p:nvPr>
            <p:ph idx="1"/>
          </p:nvPr>
        </p:nvSpPr>
        <p:spPr>
          <a:xfrm>
            <a:off x="457257"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9518BA95-97CA-594F-CEC4-9016AB21F79F}"/>
              </a:ext>
            </a:extLst>
          </p:cNvPr>
          <p:cNvSpPr>
            <a:spLocks noGrp="1"/>
          </p:cNvSpPr>
          <p:nvPr>
            <p:ph type="dt" sz="half" idx="10"/>
          </p:nvPr>
        </p:nvSpPr>
        <p:spPr/>
        <p:txBody>
          <a:bodyPr lIns="0" tIns="0" rIns="0" bIns="0"/>
          <a:lstStyle/>
          <a:p>
            <a:r>
              <a:rPr lang="nb-NO"/>
              <a:t>Oslo, dd.mm.yyyy</a:t>
            </a:r>
          </a:p>
        </p:txBody>
      </p:sp>
      <p:sp>
        <p:nvSpPr>
          <p:cNvPr id="5" name="Plassholder for bunntekst 4">
            <a:extLst>
              <a:ext uri="{FF2B5EF4-FFF2-40B4-BE49-F238E27FC236}">
                <a16:creationId xmlns:a16="http://schemas.microsoft.com/office/drawing/2014/main" id="{06BDD799-A64A-28BE-E5BC-314CC349B25E}"/>
              </a:ext>
            </a:extLst>
          </p:cNvPr>
          <p:cNvSpPr>
            <a:spLocks noGrp="1"/>
          </p:cNvSpPr>
          <p:nvPr>
            <p:ph type="ftr" sz="quarter" idx="11"/>
          </p:nvPr>
        </p:nvSpPr>
        <p:spPr/>
        <p:txBody>
          <a:bodyPr lIns="0" tIns="0" rIns="0" bIns="0"/>
          <a:lstStyle/>
          <a:p>
            <a:endParaRPr lang="nb-NO"/>
          </a:p>
        </p:txBody>
      </p:sp>
      <p:sp>
        <p:nvSpPr>
          <p:cNvPr id="6" name="Plassholder for lysbildenummer 5">
            <a:extLst>
              <a:ext uri="{FF2B5EF4-FFF2-40B4-BE49-F238E27FC236}">
                <a16:creationId xmlns:a16="http://schemas.microsoft.com/office/drawing/2014/main" id="{6804CDD7-D731-CE72-6B7E-FA1540CD3D85}"/>
              </a:ext>
            </a:extLst>
          </p:cNvPr>
          <p:cNvSpPr>
            <a:spLocks noGrp="1"/>
          </p:cNvSpPr>
          <p:nvPr>
            <p:ph type="sldNum" sz="quarter" idx="12"/>
          </p:nvPr>
        </p:nvSpPr>
        <p:spPr/>
        <p:txBody>
          <a:bodyPr lIns="0" tIns="0" rIns="0" bIns="0"/>
          <a:lstStyle>
            <a:lvl1pPr>
              <a:defRPr>
                <a:solidFill>
                  <a:schemeClr val="dk1"/>
                </a:solidFill>
              </a:defRPr>
            </a:lvl1pPr>
          </a:lstStyle>
          <a:p>
            <a:fld id="{20EE8A8A-9F66-4500-8547-91D11C77B4B7}" type="slidenum">
              <a:rPr lang="nb-NO" smtClean="0"/>
              <a:pPr/>
              <a:t>‹#›</a:t>
            </a:fld>
            <a:endParaRPr lang="nb-NO"/>
          </a:p>
        </p:txBody>
      </p:sp>
      <p:pic>
        <p:nvPicPr>
          <p:cNvPr id="7" name="Grafikk 6">
            <a:extLst>
              <a:ext uri="{FF2B5EF4-FFF2-40B4-BE49-F238E27FC236}">
                <a16:creationId xmlns:a16="http://schemas.microsoft.com/office/drawing/2014/main" id="{B33E58D6-BCBC-1ACA-DEC4-18E819EBE9D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56" y="457257"/>
            <a:ext cx="1202400" cy="291107"/>
          </a:xfrm>
          <a:prstGeom prst="rect">
            <a:avLst/>
          </a:prstGeom>
        </p:spPr>
      </p:pic>
      <p:sp>
        <p:nvSpPr>
          <p:cNvPr id="10" name="Plassholder for tekst 9">
            <a:extLst>
              <a:ext uri="{FF2B5EF4-FFF2-40B4-BE49-F238E27FC236}">
                <a16:creationId xmlns:a16="http://schemas.microsoft.com/office/drawing/2014/main" id="{EEC7CB79-1863-78D2-3C2F-0FDC187818B8}"/>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1" name="Plassholder for bilde 10">
            <a:extLst>
              <a:ext uri="{FF2B5EF4-FFF2-40B4-BE49-F238E27FC236}">
                <a16:creationId xmlns:a16="http://schemas.microsoft.com/office/drawing/2014/main" id="{8CF249F0-D73C-ABA7-AFAC-095D211666ED}"/>
              </a:ext>
            </a:extLst>
          </p:cNvPr>
          <p:cNvSpPr>
            <a:spLocks noGrp="1"/>
          </p:cNvSpPr>
          <p:nvPr>
            <p:ph type="pic" sz="quarter" idx="14"/>
          </p:nvPr>
        </p:nvSpPr>
        <p:spPr>
          <a:xfrm>
            <a:off x="4571428" y="0"/>
            <a:ext cx="4572572" cy="4654493"/>
          </a:xfrm>
          <a:prstGeom prst="rect">
            <a:avLst/>
          </a:prstGeom>
          <a:solidFill>
            <a:schemeClr val="tx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Tree>
    <p:extLst>
      <p:ext uri="{BB962C8B-B14F-4D97-AF65-F5344CB8AC3E}">
        <p14:creationId xmlns:p14="http://schemas.microsoft.com/office/powerpoint/2010/main" val="82529722"/>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eloverskrift">
    <p:bg>
      <p:bgPr>
        <a:blipFill>
          <a:blip r:embed="rId2">
            <a:extLst>
              <a:ext uri="{96DAC541-7B7A-43D3-8B79-37D633B846F1}">
                <asvg:svgBlip xmlns:asvg="http://schemas.microsoft.com/office/drawing/2016/SVG/main" r:embed="rId3"/>
              </a:ext>
            </a:extLst>
          </a:blip>
          <a:stretch>
            <a:fillRect/>
          </a:stretch>
        </a:blipFill>
        <a:effectLst/>
      </p:bgPr>
    </p:bg>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18B5510B-66A1-DDB8-613C-36D8B31EAAC6}"/>
              </a:ext>
            </a:extLst>
          </p:cNvPr>
          <p:cNvSpPr>
            <a:spLocks noGrp="1"/>
          </p:cNvSpPr>
          <p:nvPr>
            <p:ph type="dt" sz="half" idx="10"/>
          </p:nvPr>
        </p:nvSpPr>
        <p:spPr/>
        <p:txBody>
          <a:bodyPr lIns="0" tIns="0" rIns="0" bIns="0"/>
          <a:lstStyle/>
          <a:p>
            <a:r>
              <a:rPr lang="nb-NO"/>
              <a:t>Oslo, dd.mm.yyyy</a:t>
            </a:r>
          </a:p>
        </p:txBody>
      </p:sp>
      <p:sp>
        <p:nvSpPr>
          <p:cNvPr id="5" name="Plassholder for bunntekst 4">
            <a:extLst>
              <a:ext uri="{FF2B5EF4-FFF2-40B4-BE49-F238E27FC236}">
                <a16:creationId xmlns:a16="http://schemas.microsoft.com/office/drawing/2014/main" id="{451069F0-B04A-27E6-EA1C-3F12B86D6D0D}"/>
              </a:ext>
            </a:extLst>
          </p:cNvPr>
          <p:cNvSpPr>
            <a:spLocks noGrp="1"/>
          </p:cNvSpPr>
          <p:nvPr>
            <p:ph type="ftr" sz="quarter" idx="11"/>
          </p:nvPr>
        </p:nvSpPr>
        <p:spPr/>
        <p:txBody>
          <a:bodyPr lIns="0" tIns="0" rIns="0" bIns="0"/>
          <a:lstStyle/>
          <a:p>
            <a:endParaRPr lang="nb-NO"/>
          </a:p>
        </p:txBody>
      </p:sp>
      <p:sp>
        <p:nvSpPr>
          <p:cNvPr id="6" name="Plassholder for lysbildenummer 5">
            <a:extLst>
              <a:ext uri="{FF2B5EF4-FFF2-40B4-BE49-F238E27FC236}">
                <a16:creationId xmlns:a16="http://schemas.microsoft.com/office/drawing/2014/main" id="{EAF6CDFB-CD38-64C8-1056-34AF412FAB14}"/>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7" name="Tittel 1">
            <a:extLst>
              <a:ext uri="{FF2B5EF4-FFF2-40B4-BE49-F238E27FC236}">
                <a16:creationId xmlns:a16="http://schemas.microsoft.com/office/drawing/2014/main" id="{BD93A480-2291-EAEB-C969-EA9A96926A58}"/>
              </a:ext>
            </a:extLst>
          </p:cNvPr>
          <p:cNvSpPr>
            <a:spLocks noGrp="1"/>
          </p:cNvSpPr>
          <p:nvPr>
            <p:ph type="ctrTitle"/>
          </p:nvPr>
        </p:nvSpPr>
        <p:spPr>
          <a:xfrm>
            <a:off x="457257" y="1995424"/>
            <a:ext cx="4178243" cy="332399"/>
          </a:xfrm>
        </p:spPr>
        <p:txBody>
          <a:bodyPr wrap="square" lIns="0" tIns="0" rIns="0" bIns="0" anchor="t">
            <a:spAutoFit/>
          </a:bodyPr>
          <a:lstStyle>
            <a:lvl1pPr algn="l">
              <a:defRPr sz="2400"/>
            </a:lvl1pPr>
          </a:lstStyle>
          <a:p>
            <a:r>
              <a:rPr lang="nb-NO"/>
              <a:t>Klikk for å redigere tittelstil</a:t>
            </a:r>
          </a:p>
        </p:txBody>
      </p:sp>
      <p:sp>
        <p:nvSpPr>
          <p:cNvPr id="8" name="Undertittel 2">
            <a:extLst>
              <a:ext uri="{FF2B5EF4-FFF2-40B4-BE49-F238E27FC236}">
                <a16:creationId xmlns:a16="http://schemas.microsoft.com/office/drawing/2014/main" id="{2B84FDC0-0E1E-7403-2EFC-69279449BEA5}"/>
              </a:ext>
            </a:extLst>
          </p:cNvPr>
          <p:cNvSpPr>
            <a:spLocks noGrp="1"/>
          </p:cNvSpPr>
          <p:nvPr>
            <p:ph type="subTitle" idx="1"/>
          </p:nvPr>
        </p:nvSpPr>
        <p:spPr>
          <a:xfrm>
            <a:off x="457257" y="2606182"/>
            <a:ext cx="4178243" cy="166199"/>
          </a:xfrm>
        </p:spPr>
        <p:txBody>
          <a:bodyPr wrap="square" lIns="0" tIns="0" rIns="0" bIns="0">
            <a:spAutoFit/>
          </a:bodyPr>
          <a:lstStyle>
            <a:lvl1pPr marL="0" indent="0" algn="l">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pic>
        <p:nvPicPr>
          <p:cNvPr id="16" name="Grafikk 15">
            <a:extLst>
              <a:ext uri="{FF2B5EF4-FFF2-40B4-BE49-F238E27FC236}">
                <a16:creationId xmlns:a16="http://schemas.microsoft.com/office/drawing/2014/main" id="{AE18C5D0-3022-4BAF-025C-D9004D43507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7256" y="457257"/>
            <a:ext cx="1202400" cy="291107"/>
          </a:xfrm>
          <a:prstGeom prst="rect">
            <a:avLst/>
          </a:prstGeom>
        </p:spPr>
      </p:pic>
    </p:spTree>
    <p:extLst>
      <p:ext uri="{BB962C8B-B14F-4D97-AF65-F5344CB8AC3E}">
        <p14:creationId xmlns:p14="http://schemas.microsoft.com/office/powerpoint/2010/main" val="744198241"/>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tel, innhold og graf">
    <p:bg>
      <p:bgRef idx="1001">
        <a:schemeClr val="bg1"/>
      </p:bgRef>
    </p:bg>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B45C3145-1A1F-8DC3-D043-642D4A957A22}"/>
              </a:ext>
            </a:extLst>
          </p:cNvPr>
          <p:cNvSpPr/>
          <p:nvPr userDrawn="1"/>
        </p:nvSpPr>
        <p:spPr>
          <a:xfrm>
            <a:off x="0" y="0"/>
            <a:ext cx="4572572" cy="5111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83334375-863F-4E79-49BE-58EBF26F28B9}"/>
              </a:ext>
            </a:extLst>
          </p:cNvPr>
          <p:cNvSpPr>
            <a:spLocks noGrp="1"/>
          </p:cNvSpPr>
          <p:nvPr>
            <p:ph type="title"/>
          </p:nvPr>
        </p:nvSpPr>
        <p:spPr>
          <a:xfrm>
            <a:off x="457257" y="1110634"/>
            <a:ext cx="3702960" cy="664797"/>
          </a:xfrm>
        </p:spPr>
        <p:txBody>
          <a:bodyPr lIns="0" tIns="0" rIns="0" bIns="0"/>
          <a:lstStyle>
            <a:lvl1pPr>
              <a:defRPr>
                <a:solidFill>
                  <a:schemeClr val="lt1"/>
                </a:solidFill>
              </a:defRPr>
            </a:lvl1pPr>
          </a:lstStyle>
          <a:p>
            <a:r>
              <a:rPr lang="nb-NO"/>
              <a:t>Klikk for å redigere tittelstil</a:t>
            </a:r>
          </a:p>
        </p:txBody>
      </p:sp>
      <p:sp>
        <p:nvSpPr>
          <p:cNvPr id="3" name="Plassholder for innhold 2">
            <a:extLst>
              <a:ext uri="{FF2B5EF4-FFF2-40B4-BE49-F238E27FC236}">
                <a16:creationId xmlns:a16="http://schemas.microsoft.com/office/drawing/2014/main" id="{160125C0-A856-B565-F422-9E99F8E2F29B}"/>
              </a:ext>
            </a:extLst>
          </p:cNvPr>
          <p:cNvSpPr>
            <a:spLocks noGrp="1"/>
          </p:cNvSpPr>
          <p:nvPr>
            <p:ph idx="1"/>
          </p:nvPr>
        </p:nvSpPr>
        <p:spPr>
          <a:xfrm>
            <a:off x="457257" y="2081047"/>
            <a:ext cx="3702960" cy="2148053"/>
          </a:xfrm>
        </p:spPr>
        <p:txBody>
          <a:bodyPr lIns="0" tIns="0" rIns="0" bIns="0"/>
          <a:lstStyle>
            <a:lvl1pP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9518BA95-97CA-594F-CEC4-9016AB21F79F}"/>
              </a:ext>
            </a:extLst>
          </p:cNvPr>
          <p:cNvSpPr>
            <a:spLocks noGrp="1"/>
          </p:cNvSpPr>
          <p:nvPr>
            <p:ph type="dt" sz="half" idx="10"/>
          </p:nvPr>
        </p:nvSpPr>
        <p:spPr/>
        <p:txBody>
          <a:bodyPr lIns="0" tIns="0" rIns="0" bIns="0"/>
          <a:lstStyle/>
          <a:p>
            <a:r>
              <a:rPr lang="nb-NO"/>
              <a:t>Oslo, dd.mm.yyyy</a:t>
            </a:r>
          </a:p>
        </p:txBody>
      </p:sp>
      <p:sp>
        <p:nvSpPr>
          <p:cNvPr id="5" name="Plassholder for bunntekst 4">
            <a:extLst>
              <a:ext uri="{FF2B5EF4-FFF2-40B4-BE49-F238E27FC236}">
                <a16:creationId xmlns:a16="http://schemas.microsoft.com/office/drawing/2014/main" id="{06BDD799-A64A-28BE-E5BC-314CC349B25E}"/>
              </a:ext>
            </a:extLst>
          </p:cNvPr>
          <p:cNvSpPr>
            <a:spLocks noGrp="1"/>
          </p:cNvSpPr>
          <p:nvPr>
            <p:ph type="ftr" sz="quarter" idx="11"/>
          </p:nvPr>
        </p:nvSpPr>
        <p:spPr/>
        <p:txBody>
          <a:bodyPr lIns="0" tIns="0" rIns="0" bIns="0"/>
          <a:lstStyle/>
          <a:p>
            <a:endParaRPr lang="nb-NO"/>
          </a:p>
        </p:txBody>
      </p:sp>
      <p:sp>
        <p:nvSpPr>
          <p:cNvPr id="6" name="Plassholder for lysbildenummer 5">
            <a:extLst>
              <a:ext uri="{FF2B5EF4-FFF2-40B4-BE49-F238E27FC236}">
                <a16:creationId xmlns:a16="http://schemas.microsoft.com/office/drawing/2014/main" id="{6804CDD7-D731-CE72-6B7E-FA1540CD3D85}"/>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pic>
        <p:nvPicPr>
          <p:cNvPr id="7" name="Grafikk 6">
            <a:extLst>
              <a:ext uri="{FF2B5EF4-FFF2-40B4-BE49-F238E27FC236}">
                <a16:creationId xmlns:a16="http://schemas.microsoft.com/office/drawing/2014/main" id="{B33E58D6-BCBC-1ACA-DEC4-18E819EBE9D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56" y="457257"/>
            <a:ext cx="1202400" cy="291107"/>
          </a:xfrm>
          <a:prstGeom prst="rect">
            <a:avLst/>
          </a:prstGeom>
        </p:spPr>
      </p:pic>
      <p:sp>
        <p:nvSpPr>
          <p:cNvPr id="10" name="Plassholder for tekst 9">
            <a:extLst>
              <a:ext uri="{FF2B5EF4-FFF2-40B4-BE49-F238E27FC236}">
                <a16:creationId xmlns:a16="http://schemas.microsoft.com/office/drawing/2014/main" id="{EEC7CB79-1863-78D2-3C2F-0FDC187818B8}"/>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solidFill>
                  <a:schemeClr val="lt1"/>
                </a:solidFill>
              </a:defRPr>
            </a:lvl1pPr>
          </a:lstStyle>
          <a:p>
            <a:pPr lvl="0"/>
            <a:r>
              <a:rPr lang="nb-NO"/>
              <a:t>Undertittel</a:t>
            </a:r>
          </a:p>
        </p:txBody>
      </p:sp>
      <p:sp>
        <p:nvSpPr>
          <p:cNvPr id="13" name="Plassholder for diagram 12">
            <a:extLst>
              <a:ext uri="{FF2B5EF4-FFF2-40B4-BE49-F238E27FC236}">
                <a16:creationId xmlns:a16="http://schemas.microsoft.com/office/drawing/2014/main" id="{5411E35D-D571-C517-28AB-D29667B5E49F}"/>
              </a:ext>
            </a:extLst>
          </p:cNvPr>
          <p:cNvSpPr>
            <a:spLocks noGrp="1"/>
          </p:cNvSpPr>
          <p:nvPr>
            <p:ph type="chart" sz="quarter" idx="14"/>
          </p:nvPr>
        </p:nvSpPr>
        <p:spPr>
          <a:xfrm>
            <a:off x="4958814" y="212725"/>
            <a:ext cx="3836987" cy="4516721"/>
          </a:xfrm>
        </p:spPr>
        <p:txBody>
          <a:bodyPr/>
          <a:lstStyle/>
          <a:p>
            <a:r>
              <a:rPr lang="nb-NO"/>
              <a:t>Klikk ikonet for å legge til et diagram</a:t>
            </a:r>
          </a:p>
        </p:txBody>
      </p:sp>
    </p:spTree>
    <p:extLst>
      <p:ext uri="{BB962C8B-B14F-4D97-AF65-F5344CB8AC3E}">
        <p14:creationId xmlns:p14="http://schemas.microsoft.com/office/powerpoint/2010/main" val="87733236"/>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 Deloverskrift #2">
    <p:bg>
      <p:bgPr>
        <a:solidFill>
          <a:srgbClr val="8C00FC"/>
        </a:solidFill>
        <a:effectLst/>
      </p:bgPr>
    </p:bg>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18B5510B-66A1-DDB8-613C-36D8B31EAAC6}"/>
              </a:ext>
            </a:extLst>
          </p:cNvPr>
          <p:cNvSpPr>
            <a:spLocks noGrp="1"/>
          </p:cNvSpPr>
          <p:nvPr>
            <p:ph type="dt" sz="half" idx="10"/>
          </p:nvPr>
        </p:nvSpPr>
        <p:spPr/>
        <p:txBody>
          <a:bodyPr lIns="0" tIns="0" rIns="0" bIns="0"/>
          <a:lstStyle/>
          <a:p>
            <a:r>
              <a:rPr lang="nb-NO"/>
              <a:t>Oslo, dd.mm.yyyy</a:t>
            </a:r>
          </a:p>
        </p:txBody>
      </p:sp>
      <p:sp>
        <p:nvSpPr>
          <p:cNvPr id="5" name="Plassholder for bunntekst 4">
            <a:extLst>
              <a:ext uri="{FF2B5EF4-FFF2-40B4-BE49-F238E27FC236}">
                <a16:creationId xmlns:a16="http://schemas.microsoft.com/office/drawing/2014/main" id="{451069F0-B04A-27E6-EA1C-3F12B86D6D0D}"/>
              </a:ext>
            </a:extLst>
          </p:cNvPr>
          <p:cNvSpPr>
            <a:spLocks noGrp="1"/>
          </p:cNvSpPr>
          <p:nvPr>
            <p:ph type="ftr" sz="quarter" idx="11"/>
          </p:nvPr>
        </p:nvSpPr>
        <p:spPr/>
        <p:txBody>
          <a:bodyPr lIns="0" tIns="0" rIns="0" bIns="0"/>
          <a:lstStyle/>
          <a:p>
            <a:endParaRPr lang="nb-NO"/>
          </a:p>
        </p:txBody>
      </p:sp>
      <p:sp>
        <p:nvSpPr>
          <p:cNvPr id="6" name="Plassholder for lysbildenummer 5">
            <a:extLst>
              <a:ext uri="{FF2B5EF4-FFF2-40B4-BE49-F238E27FC236}">
                <a16:creationId xmlns:a16="http://schemas.microsoft.com/office/drawing/2014/main" id="{EAF6CDFB-CD38-64C8-1056-34AF412FAB14}"/>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7" name="Tittel 1">
            <a:extLst>
              <a:ext uri="{FF2B5EF4-FFF2-40B4-BE49-F238E27FC236}">
                <a16:creationId xmlns:a16="http://schemas.microsoft.com/office/drawing/2014/main" id="{BD93A480-2291-EAEB-C969-EA9A96926A58}"/>
              </a:ext>
            </a:extLst>
          </p:cNvPr>
          <p:cNvSpPr>
            <a:spLocks noGrp="1"/>
          </p:cNvSpPr>
          <p:nvPr>
            <p:ph type="ctrTitle"/>
          </p:nvPr>
        </p:nvSpPr>
        <p:spPr>
          <a:xfrm>
            <a:off x="457257" y="1995424"/>
            <a:ext cx="4178243" cy="332399"/>
          </a:xfrm>
        </p:spPr>
        <p:txBody>
          <a:bodyPr wrap="square" lIns="0" tIns="0" rIns="0" bIns="0" anchor="t">
            <a:spAutoFit/>
          </a:bodyPr>
          <a:lstStyle>
            <a:lvl1pPr algn="l">
              <a:defRPr sz="2400"/>
            </a:lvl1pPr>
          </a:lstStyle>
          <a:p>
            <a:r>
              <a:rPr lang="nb-NO"/>
              <a:t>Klikk for å redigere tittelstil</a:t>
            </a:r>
          </a:p>
        </p:txBody>
      </p:sp>
      <p:sp>
        <p:nvSpPr>
          <p:cNvPr id="8" name="Undertittel 2">
            <a:extLst>
              <a:ext uri="{FF2B5EF4-FFF2-40B4-BE49-F238E27FC236}">
                <a16:creationId xmlns:a16="http://schemas.microsoft.com/office/drawing/2014/main" id="{2B84FDC0-0E1E-7403-2EFC-69279449BEA5}"/>
              </a:ext>
            </a:extLst>
          </p:cNvPr>
          <p:cNvSpPr>
            <a:spLocks noGrp="1"/>
          </p:cNvSpPr>
          <p:nvPr>
            <p:ph type="subTitle" idx="1"/>
          </p:nvPr>
        </p:nvSpPr>
        <p:spPr>
          <a:xfrm>
            <a:off x="457257" y="2606182"/>
            <a:ext cx="4178243" cy="166199"/>
          </a:xfrm>
        </p:spPr>
        <p:txBody>
          <a:bodyPr wrap="square" lIns="0" tIns="0" rIns="0" bIns="0">
            <a:spAutoFit/>
          </a:bodyPr>
          <a:lstStyle>
            <a:lvl1pPr marL="0" indent="0" algn="l">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pic>
        <p:nvPicPr>
          <p:cNvPr id="16" name="Grafikk 15">
            <a:extLst>
              <a:ext uri="{FF2B5EF4-FFF2-40B4-BE49-F238E27FC236}">
                <a16:creationId xmlns:a16="http://schemas.microsoft.com/office/drawing/2014/main" id="{AE18C5D0-3022-4BAF-025C-D9004D43507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56" y="457257"/>
            <a:ext cx="1202400" cy="291107"/>
          </a:xfrm>
          <a:prstGeom prst="rect">
            <a:avLst/>
          </a:prstGeom>
        </p:spPr>
      </p:pic>
      <p:sp>
        <p:nvSpPr>
          <p:cNvPr id="15" name="Plassholder for bilde 14">
            <a:extLst>
              <a:ext uri="{FF2B5EF4-FFF2-40B4-BE49-F238E27FC236}">
                <a16:creationId xmlns:a16="http://schemas.microsoft.com/office/drawing/2014/main" id="{FB267606-548B-9316-FDEF-4531CE3CCDDB}"/>
              </a:ext>
            </a:extLst>
          </p:cNvPr>
          <p:cNvSpPr>
            <a:spLocks noGrp="1"/>
          </p:cNvSpPr>
          <p:nvPr>
            <p:ph type="pic" sz="quarter" idx="13"/>
          </p:nvPr>
        </p:nvSpPr>
        <p:spPr>
          <a:xfrm>
            <a:off x="3193130" y="0"/>
            <a:ext cx="5950870" cy="5111751"/>
          </a:xfrm>
          <a:custGeom>
            <a:avLst/>
            <a:gdLst>
              <a:gd name="connsiteX0" fmla="*/ 1456441 w 5950870"/>
              <a:gd name="connsiteY0" fmla="*/ 0 h 5111751"/>
              <a:gd name="connsiteX1" fmla="*/ 5950870 w 5950870"/>
              <a:gd name="connsiteY1" fmla="*/ 0 h 5111751"/>
              <a:gd name="connsiteX2" fmla="*/ 5950870 w 5950870"/>
              <a:gd name="connsiteY2" fmla="*/ 5111751 h 5111751"/>
              <a:gd name="connsiteX3" fmla="*/ 0 w 5950870"/>
              <a:gd name="connsiteY3" fmla="*/ 5111751 h 5111751"/>
              <a:gd name="connsiteX4" fmla="*/ 1402641 w 5950870"/>
              <a:gd name="connsiteY4" fmla="*/ 2939237 h 5111751"/>
              <a:gd name="connsiteX5" fmla="*/ 1820942 w 5950870"/>
              <a:gd name="connsiteY5" fmla="*/ 1885952 h 5111751"/>
              <a:gd name="connsiteX6" fmla="*/ 1498558 w 5950870"/>
              <a:gd name="connsiteY6" fmla="*/ 65865 h 511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50870" h="5111751">
                <a:moveTo>
                  <a:pt x="1456441" y="0"/>
                </a:moveTo>
                <a:lnTo>
                  <a:pt x="5950870" y="0"/>
                </a:lnTo>
                <a:lnTo>
                  <a:pt x="5950870" y="5111751"/>
                </a:lnTo>
                <a:lnTo>
                  <a:pt x="0" y="5111751"/>
                </a:lnTo>
                <a:lnTo>
                  <a:pt x="1402641" y="2939237"/>
                </a:lnTo>
                <a:cubicBezTo>
                  <a:pt x="1608318" y="2630570"/>
                  <a:pt x="1754216" y="2274883"/>
                  <a:pt x="1820942" y="1885952"/>
                </a:cubicBezTo>
                <a:cubicBezTo>
                  <a:pt x="1932678" y="1234479"/>
                  <a:pt x="1803786" y="597553"/>
                  <a:pt x="1498558" y="65865"/>
                </a:cubicBezTo>
                <a:close/>
              </a:path>
            </a:pathLst>
          </a:custGeom>
          <a:solidFill>
            <a:schemeClr val="tx1">
              <a:lumMod val="85000"/>
            </a:schemeClr>
          </a:solidFill>
        </p:spPr>
        <p:txBody>
          <a:bodyPr wrap="square" tIns="504615">
            <a:noAutofit/>
          </a:bodyPr>
          <a:lstStyle>
            <a:lvl1pPr marL="120650" indent="-120650" algn="ctr" defTabSz="914400" rtl="0" eaLnBrk="1" latinLnBrk="0" hangingPunct="1">
              <a:lnSpc>
                <a:spcPct val="90000"/>
              </a:lnSpc>
              <a:spcBef>
                <a:spcPts val="1000"/>
              </a:spcBef>
              <a:buFont typeface="Arial" panose="020B0604020202020204" pitchFamily="34" charset="0"/>
              <a:buNone/>
              <a:defRPr sz="900"/>
            </a:lvl1pPr>
          </a:lstStyle>
          <a:p>
            <a:r>
              <a:rPr lang="nb-NO"/>
              <a:t>Klikk på ikonet for å legge til et bilde</a:t>
            </a:r>
          </a:p>
        </p:txBody>
      </p:sp>
    </p:spTree>
    <p:extLst>
      <p:ext uri="{BB962C8B-B14F-4D97-AF65-F5344CB8AC3E}">
        <p14:creationId xmlns:p14="http://schemas.microsoft.com/office/powerpoint/2010/main" val="2968344039"/>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 Deloverskrift #3">
    <p:bg>
      <p:bgRef idx="1001">
        <a:schemeClr val="bg1"/>
      </p:bgRef>
    </p:bg>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18B5510B-66A1-DDB8-613C-36D8B31EAAC6}"/>
              </a:ext>
            </a:extLst>
          </p:cNvPr>
          <p:cNvSpPr>
            <a:spLocks noGrp="1"/>
          </p:cNvSpPr>
          <p:nvPr>
            <p:ph type="dt" sz="half" idx="10"/>
          </p:nvPr>
        </p:nvSpPr>
        <p:spPr/>
        <p:txBody>
          <a:bodyPr lIns="0" tIns="0" rIns="0" bIns="0"/>
          <a:lstStyle/>
          <a:p>
            <a:r>
              <a:rPr lang="nb-NO"/>
              <a:t>Oslo, dd.mm.yyyy</a:t>
            </a:r>
          </a:p>
        </p:txBody>
      </p:sp>
      <p:sp>
        <p:nvSpPr>
          <p:cNvPr id="5" name="Plassholder for bunntekst 4">
            <a:extLst>
              <a:ext uri="{FF2B5EF4-FFF2-40B4-BE49-F238E27FC236}">
                <a16:creationId xmlns:a16="http://schemas.microsoft.com/office/drawing/2014/main" id="{451069F0-B04A-27E6-EA1C-3F12B86D6D0D}"/>
              </a:ext>
            </a:extLst>
          </p:cNvPr>
          <p:cNvSpPr>
            <a:spLocks noGrp="1"/>
          </p:cNvSpPr>
          <p:nvPr>
            <p:ph type="ftr" sz="quarter" idx="11"/>
          </p:nvPr>
        </p:nvSpPr>
        <p:spPr/>
        <p:txBody>
          <a:bodyPr lIns="0" tIns="0" rIns="0" bIns="0"/>
          <a:lstStyle/>
          <a:p>
            <a:endParaRPr lang="nb-NO"/>
          </a:p>
        </p:txBody>
      </p:sp>
      <p:sp>
        <p:nvSpPr>
          <p:cNvPr id="6" name="Plassholder for lysbildenummer 5">
            <a:extLst>
              <a:ext uri="{FF2B5EF4-FFF2-40B4-BE49-F238E27FC236}">
                <a16:creationId xmlns:a16="http://schemas.microsoft.com/office/drawing/2014/main" id="{EAF6CDFB-CD38-64C8-1056-34AF412FAB14}"/>
              </a:ext>
            </a:extLst>
          </p:cNvPr>
          <p:cNvSpPr>
            <a:spLocks noGrp="1"/>
          </p:cNvSpPr>
          <p:nvPr>
            <p:ph type="sldNum" sz="quarter" idx="12"/>
          </p:nvPr>
        </p:nvSpPr>
        <p:spPr/>
        <p:txBody>
          <a:bodyPr lIns="0" tIns="0" rIns="0" bIns="0"/>
          <a:lstStyle>
            <a:lvl1pPr>
              <a:defRPr>
                <a:solidFill>
                  <a:schemeClr val="dk1"/>
                </a:solidFill>
              </a:defRPr>
            </a:lvl1pPr>
          </a:lstStyle>
          <a:p>
            <a:fld id="{20EE8A8A-9F66-4500-8547-91D11C77B4B7}" type="slidenum">
              <a:rPr lang="nb-NO" smtClean="0"/>
              <a:pPr/>
              <a:t>‹#›</a:t>
            </a:fld>
            <a:endParaRPr lang="nb-NO"/>
          </a:p>
        </p:txBody>
      </p:sp>
      <p:sp>
        <p:nvSpPr>
          <p:cNvPr id="7" name="Tittel 1">
            <a:extLst>
              <a:ext uri="{FF2B5EF4-FFF2-40B4-BE49-F238E27FC236}">
                <a16:creationId xmlns:a16="http://schemas.microsoft.com/office/drawing/2014/main" id="{BD93A480-2291-EAEB-C969-EA9A96926A58}"/>
              </a:ext>
            </a:extLst>
          </p:cNvPr>
          <p:cNvSpPr>
            <a:spLocks noGrp="1"/>
          </p:cNvSpPr>
          <p:nvPr>
            <p:ph type="ctrTitle"/>
          </p:nvPr>
        </p:nvSpPr>
        <p:spPr>
          <a:xfrm>
            <a:off x="457257" y="1995424"/>
            <a:ext cx="4178243" cy="332399"/>
          </a:xfrm>
        </p:spPr>
        <p:txBody>
          <a:bodyPr wrap="square" lIns="0" tIns="0" rIns="0" bIns="0" anchor="t">
            <a:spAutoFit/>
          </a:bodyPr>
          <a:lstStyle>
            <a:lvl1pPr algn="l">
              <a:defRPr sz="2400"/>
            </a:lvl1pPr>
          </a:lstStyle>
          <a:p>
            <a:r>
              <a:rPr lang="nb-NO"/>
              <a:t>Klikk for å redigere tittelstil</a:t>
            </a:r>
          </a:p>
        </p:txBody>
      </p:sp>
      <p:sp>
        <p:nvSpPr>
          <p:cNvPr id="8" name="Undertittel 2">
            <a:extLst>
              <a:ext uri="{FF2B5EF4-FFF2-40B4-BE49-F238E27FC236}">
                <a16:creationId xmlns:a16="http://schemas.microsoft.com/office/drawing/2014/main" id="{2B84FDC0-0E1E-7403-2EFC-69279449BEA5}"/>
              </a:ext>
            </a:extLst>
          </p:cNvPr>
          <p:cNvSpPr>
            <a:spLocks noGrp="1"/>
          </p:cNvSpPr>
          <p:nvPr>
            <p:ph type="subTitle" idx="1"/>
          </p:nvPr>
        </p:nvSpPr>
        <p:spPr>
          <a:xfrm>
            <a:off x="457257" y="2606182"/>
            <a:ext cx="4178243" cy="166199"/>
          </a:xfrm>
        </p:spPr>
        <p:txBody>
          <a:bodyPr wrap="square" lIns="0" tIns="0" rIns="0" bIns="0">
            <a:spAutoFit/>
          </a:bodyPr>
          <a:lstStyle>
            <a:lvl1pPr marL="0" indent="0" algn="l">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15" name="Plassholder for bilde 14">
            <a:extLst>
              <a:ext uri="{FF2B5EF4-FFF2-40B4-BE49-F238E27FC236}">
                <a16:creationId xmlns:a16="http://schemas.microsoft.com/office/drawing/2014/main" id="{FB267606-548B-9316-FDEF-4531CE3CCDDB}"/>
              </a:ext>
            </a:extLst>
          </p:cNvPr>
          <p:cNvSpPr>
            <a:spLocks noGrp="1"/>
          </p:cNvSpPr>
          <p:nvPr>
            <p:ph type="pic" sz="quarter" idx="13"/>
          </p:nvPr>
        </p:nvSpPr>
        <p:spPr>
          <a:xfrm>
            <a:off x="3193130" y="0"/>
            <a:ext cx="5950870" cy="5111751"/>
          </a:xfrm>
          <a:custGeom>
            <a:avLst/>
            <a:gdLst>
              <a:gd name="connsiteX0" fmla="*/ 1456441 w 5950870"/>
              <a:gd name="connsiteY0" fmla="*/ 0 h 5111751"/>
              <a:gd name="connsiteX1" fmla="*/ 5950870 w 5950870"/>
              <a:gd name="connsiteY1" fmla="*/ 0 h 5111751"/>
              <a:gd name="connsiteX2" fmla="*/ 5950870 w 5950870"/>
              <a:gd name="connsiteY2" fmla="*/ 5111751 h 5111751"/>
              <a:gd name="connsiteX3" fmla="*/ 0 w 5950870"/>
              <a:gd name="connsiteY3" fmla="*/ 5111751 h 5111751"/>
              <a:gd name="connsiteX4" fmla="*/ 1402641 w 5950870"/>
              <a:gd name="connsiteY4" fmla="*/ 2939237 h 5111751"/>
              <a:gd name="connsiteX5" fmla="*/ 1820942 w 5950870"/>
              <a:gd name="connsiteY5" fmla="*/ 1885952 h 5111751"/>
              <a:gd name="connsiteX6" fmla="*/ 1498558 w 5950870"/>
              <a:gd name="connsiteY6" fmla="*/ 65865 h 511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50870" h="5111751">
                <a:moveTo>
                  <a:pt x="1456441" y="0"/>
                </a:moveTo>
                <a:lnTo>
                  <a:pt x="5950870" y="0"/>
                </a:lnTo>
                <a:lnTo>
                  <a:pt x="5950870" y="5111751"/>
                </a:lnTo>
                <a:lnTo>
                  <a:pt x="0" y="5111751"/>
                </a:lnTo>
                <a:lnTo>
                  <a:pt x="1402641" y="2939237"/>
                </a:lnTo>
                <a:cubicBezTo>
                  <a:pt x="1608318" y="2630570"/>
                  <a:pt x="1754216" y="2274883"/>
                  <a:pt x="1820942" y="1885952"/>
                </a:cubicBezTo>
                <a:cubicBezTo>
                  <a:pt x="1932678" y="1234479"/>
                  <a:pt x="1803786" y="597553"/>
                  <a:pt x="1498558" y="65865"/>
                </a:cubicBezTo>
                <a:close/>
              </a:path>
            </a:pathLst>
          </a:custGeom>
          <a:solidFill>
            <a:schemeClr val="bg1">
              <a:lumMod val="85000"/>
            </a:schemeClr>
          </a:solidFill>
        </p:spPr>
        <p:txBody>
          <a:bodyPr wrap="square" tIns="504615">
            <a:noAutofit/>
          </a:bodyPr>
          <a:lstStyle>
            <a:lvl1pPr marL="120650" indent="-120650" algn="ctr" defTabSz="914400" rtl="0" eaLnBrk="1" latinLnBrk="0" hangingPunct="1">
              <a:lnSpc>
                <a:spcPct val="90000"/>
              </a:lnSpc>
              <a:spcBef>
                <a:spcPts val="1000"/>
              </a:spcBef>
              <a:buFont typeface="Arial" panose="020B0604020202020204" pitchFamily="34" charset="0"/>
              <a:buNone/>
              <a:defRPr sz="900"/>
            </a:lvl1pPr>
          </a:lstStyle>
          <a:p>
            <a:r>
              <a:rPr lang="nb-NO"/>
              <a:t>Klikk på ikonet for å legge til et bilde</a:t>
            </a:r>
          </a:p>
        </p:txBody>
      </p:sp>
    </p:spTree>
    <p:extLst>
      <p:ext uri="{BB962C8B-B14F-4D97-AF65-F5344CB8AC3E}">
        <p14:creationId xmlns:p14="http://schemas.microsoft.com/office/powerpoint/2010/main" val="88754128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o innholdsdeler">
    <p:bg>
      <p:bgRef idx="1001">
        <a:schemeClr val="bg2"/>
      </p:bgRef>
    </p:bg>
    <p:spTree>
      <p:nvGrpSpPr>
        <p:cNvPr id="1" name=""/>
        <p:cNvGrpSpPr/>
        <p:nvPr/>
      </p:nvGrpSpPr>
      <p:grpSpPr>
        <a:xfrm>
          <a:off x="0" y="0"/>
          <a:ext cx="0" cy="0"/>
          <a:chOff x="0" y="0"/>
          <a:chExt cx="0" cy="0"/>
        </a:xfrm>
      </p:grpSpPr>
      <p:pic>
        <p:nvPicPr>
          <p:cNvPr id="20" name="Grafikk 19">
            <a:extLst>
              <a:ext uri="{FF2B5EF4-FFF2-40B4-BE49-F238E27FC236}">
                <a16:creationId xmlns:a16="http://schemas.microsoft.com/office/drawing/2014/main" id="{DF7D169B-633E-2A31-AF34-59AB49BEA4B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45740" b="40296"/>
          <a:stretch/>
        </p:blipFill>
        <p:spPr>
          <a:xfrm>
            <a:off x="4858339" y="1744958"/>
            <a:ext cx="4285661" cy="2909535"/>
          </a:xfrm>
          <a:prstGeom prst="rect">
            <a:avLst/>
          </a:prstGeom>
        </p:spPr>
      </p:pic>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5F00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7" y="1110634"/>
            <a:ext cx="7824682"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0" name="Grafikk 9">
            <a:extLst>
              <a:ext uri="{FF2B5EF4-FFF2-40B4-BE49-F238E27FC236}">
                <a16:creationId xmlns:a16="http://schemas.microsoft.com/office/drawing/2014/main" id="{6E6E083F-35A9-65FC-A0A3-4CFDEB97F8B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7256" y="457257"/>
            <a:ext cx="1202400" cy="291107"/>
          </a:xfrm>
          <a:prstGeom prst="rect">
            <a:avLst/>
          </a:prstGeom>
        </p:spPr>
      </p:pic>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6" name="Plassholder for innhold 2">
            <a:extLst>
              <a:ext uri="{FF2B5EF4-FFF2-40B4-BE49-F238E27FC236}">
                <a16:creationId xmlns:a16="http://schemas.microsoft.com/office/drawing/2014/main" id="{BE070B99-CC43-42C1-97F9-A8177AA17C49}"/>
              </a:ext>
            </a:extLst>
          </p:cNvPr>
          <p:cNvSpPr>
            <a:spLocks noGrp="1"/>
          </p:cNvSpPr>
          <p:nvPr>
            <p:ph idx="14"/>
          </p:nvPr>
        </p:nvSpPr>
        <p:spPr>
          <a:xfrm>
            <a:off x="4578981"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7" name="Plassholder for tekst 9">
            <a:extLst>
              <a:ext uri="{FF2B5EF4-FFF2-40B4-BE49-F238E27FC236}">
                <a16:creationId xmlns:a16="http://schemas.microsoft.com/office/drawing/2014/main" id="{FF592D73-2BB9-D0DD-9066-E29A73148330}"/>
              </a:ext>
            </a:extLst>
          </p:cNvPr>
          <p:cNvSpPr>
            <a:spLocks noGrp="1"/>
          </p:cNvSpPr>
          <p:nvPr>
            <p:ph type="body" sz="quarter" idx="15" hasCustomPrompt="1"/>
          </p:nvPr>
        </p:nvSpPr>
        <p:spPr>
          <a:xfrm>
            <a:off x="4578979"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Tree>
    <p:extLst>
      <p:ext uri="{BB962C8B-B14F-4D97-AF65-F5344CB8AC3E}">
        <p14:creationId xmlns:p14="http://schemas.microsoft.com/office/powerpoint/2010/main" val="2892923067"/>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o innholdsdeler #2">
    <p:bg>
      <p:bgRef idx="1001">
        <a:schemeClr val="bg1"/>
      </p:bgRef>
    </p:bg>
    <p:spTree>
      <p:nvGrpSpPr>
        <p:cNvPr id="1" name=""/>
        <p:cNvGrpSpPr/>
        <p:nvPr/>
      </p:nvGrpSpPr>
      <p:grpSpPr>
        <a:xfrm>
          <a:off x="0" y="0"/>
          <a:ext cx="0" cy="0"/>
          <a:chOff x="0" y="0"/>
          <a:chExt cx="0" cy="0"/>
        </a:xfrm>
      </p:grpSpPr>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005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7" y="1110634"/>
            <a:ext cx="7824682"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6" name="Plassholder for innhold 2">
            <a:extLst>
              <a:ext uri="{FF2B5EF4-FFF2-40B4-BE49-F238E27FC236}">
                <a16:creationId xmlns:a16="http://schemas.microsoft.com/office/drawing/2014/main" id="{BE070B99-CC43-42C1-97F9-A8177AA17C49}"/>
              </a:ext>
            </a:extLst>
          </p:cNvPr>
          <p:cNvSpPr>
            <a:spLocks noGrp="1"/>
          </p:cNvSpPr>
          <p:nvPr>
            <p:ph idx="14"/>
          </p:nvPr>
        </p:nvSpPr>
        <p:spPr>
          <a:xfrm>
            <a:off x="4578981"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7" name="Plassholder for tekst 9">
            <a:extLst>
              <a:ext uri="{FF2B5EF4-FFF2-40B4-BE49-F238E27FC236}">
                <a16:creationId xmlns:a16="http://schemas.microsoft.com/office/drawing/2014/main" id="{FF592D73-2BB9-D0DD-9066-E29A73148330}"/>
              </a:ext>
            </a:extLst>
          </p:cNvPr>
          <p:cNvSpPr>
            <a:spLocks noGrp="1"/>
          </p:cNvSpPr>
          <p:nvPr>
            <p:ph type="body" sz="quarter" idx="15" hasCustomPrompt="1"/>
          </p:nvPr>
        </p:nvSpPr>
        <p:spPr>
          <a:xfrm>
            <a:off x="4578979"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Tree>
    <p:extLst>
      <p:ext uri="{BB962C8B-B14F-4D97-AF65-F5344CB8AC3E}">
        <p14:creationId xmlns:p14="http://schemas.microsoft.com/office/powerpoint/2010/main" val="327349367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3A0CE2F-587C-2A35-D66A-1FC176F13F50}"/>
              </a:ext>
            </a:extLst>
          </p:cNvPr>
          <p:cNvGraphicFramePr>
            <a:graphicFrameLocks noChangeAspect="1"/>
          </p:cNvGraphicFramePr>
          <p:nvPr userDrawn="1">
            <p:custDataLst>
              <p:tags r:id="rId31"/>
            </p:custDataLst>
            <p:extLst>
              <p:ext uri="{D42A27DB-BD31-4B8C-83A1-F6EECF244321}">
                <p14:modId xmlns:p14="http://schemas.microsoft.com/office/powerpoint/2010/main" val="825079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411" imgH="411" progId="TCLayout.ActiveDocument.1">
                  <p:embed/>
                </p:oleObj>
              </mc:Choice>
              <mc:Fallback>
                <p:oleObj name="think-cell Slide" r:id="rId32" imgW="411" imgH="411" progId="TCLayout.ActiveDocument.1">
                  <p:embed/>
                  <p:pic>
                    <p:nvPicPr>
                      <p:cNvPr id="8" name="think-cell data - do not delete" hidden="1">
                        <a:extLst>
                          <a:ext uri="{FF2B5EF4-FFF2-40B4-BE49-F238E27FC236}">
                            <a16:creationId xmlns:a16="http://schemas.microsoft.com/office/drawing/2014/main" id="{C3A0CE2F-587C-2A35-D66A-1FC176F13F50}"/>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Plassholder for tittel 1">
            <a:extLst>
              <a:ext uri="{FF2B5EF4-FFF2-40B4-BE49-F238E27FC236}">
                <a16:creationId xmlns:a16="http://schemas.microsoft.com/office/drawing/2014/main" id="{671BD923-3E36-84C6-4D50-0D5300920C1E}"/>
              </a:ext>
            </a:extLst>
          </p:cNvPr>
          <p:cNvSpPr>
            <a:spLocks noGrp="1"/>
          </p:cNvSpPr>
          <p:nvPr>
            <p:ph type="title"/>
          </p:nvPr>
        </p:nvSpPr>
        <p:spPr>
          <a:xfrm>
            <a:off x="457257" y="1110634"/>
            <a:ext cx="8229486" cy="664797"/>
          </a:xfrm>
          <a:prstGeom prst="rect">
            <a:avLst/>
          </a:prstGeom>
        </p:spPr>
        <p:txBody>
          <a:bodyPr vert="horz" lIns="0" tIns="0" rIns="0" bIns="0" rtlCol="0" anchor="t">
            <a:noAutofit/>
          </a:bodyPr>
          <a:lstStyle/>
          <a:p>
            <a:r>
              <a:rPr lang="nb-NO"/>
              <a:t>Klikk for å redigere tittelstil</a:t>
            </a:r>
          </a:p>
        </p:txBody>
      </p:sp>
      <p:sp>
        <p:nvSpPr>
          <p:cNvPr id="3" name="Plassholder for tekst 2">
            <a:extLst>
              <a:ext uri="{FF2B5EF4-FFF2-40B4-BE49-F238E27FC236}">
                <a16:creationId xmlns:a16="http://schemas.microsoft.com/office/drawing/2014/main" id="{DA15E85F-A1B2-39DA-282C-5327D4C868FF}"/>
              </a:ext>
            </a:extLst>
          </p:cNvPr>
          <p:cNvSpPr>
            <a:spLocks noGrp="1"/>
          </p:cNvSpPr>
          <p:nvPr>
            <p:ph type="body" idx="1"/>
          </p:nvPr>
        </p:nvSpPr>
        <p:spPr>
          <a:xfrm>
            <a:off x="457257" y="2081047"/>
            <a:ext cx="8229486" cy="2148053"/>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6A44EF01-02A4-7E88-4DD7-62AF12BDE94C}"/>
              </a:ext>
            </a:extLst>
          </p:cNvPr>
          <p:cNvSpPr>
            <a:spLocks noGrp="1"/>
          </p:cNvSpPr>
          <p:nvPr>
            <p:ph type="dt" sz="half" idx="2"/>
          </p:nvPr>
        </p:nvSpPr>
        <p:spPr>
          <a:xfrm>
            <a:off x="0" y="-63720"/>
            <a:ext cx="2057400" cy="15389"/>
          </a:xfrm>
          <a:prstGeom prst="rect">
            <a:avLst/>
          </a:prstGeom>
        </p:spPr>
        <p:txBody>
          <a:bodyPr vert="horz" lIns="0" tIns="0" rIns="0" bIns="0" rtlCol="0" anchor="ctr">
            <a:spAutoFit/>
          </a:bodyPr>
          <a:lstStyle>
            <a:lvl1pPr algn="l">
              <a:defRPr sz="100">
                <a:solidFill>
                  <a:schemeClr val="dk1"/>
                </a:solidFill>
              </a:defRPr>
            </a:lvl1pPr>
          </a:lstStyle>
          <a:p>
            <a:r>
              <a:rPr lang="nb-NO"/>
              <a:t>Oslo, dd.mm.yyyy</a:t>
            </a:r>
          </a:p>
        </p:txBody>
      </p:sp>
      <p:sp>
        <p:nvSpPr>
          <p:cNvPr id="5" name="Plassholder for bunntekst 4">
            <a:extLst>
              <a:ext uri="{FF2B5EF4-FFF2-40B4-BE49-F238E27FC236}">
                <a16:creationId xmlns:a16="http://schemas.microsoft.com/office/drawing/2014/main" id="{46E953B6-6F68-E621-F184-467E25816483}"/>
              </a:ext>
            </a:extLst>
          </p:cNvPr>
          <p:cNvSpPr>
            <a:spLocks noGrp="1"/>
          </p:cNvSpPr>
          <p:nvPr>
            <p:ph type="ftr" sz="quarter" idx="3"/>
          </p:nvPr>
        </p:nvSpPr>
        <p:spPr>
          <a:xfrm>
            <a:off x="0" y="-63720"/>
            <a:ext cx="2057400" cy="15389"/>
          </a:xfrm>
          <a:prstGeom prst="rect">
            <a:avLst/>
          </a:prstGeom>
        </p:spPr>
        <p:txBody>
          <a:bodyPr vert="horz" lIns="0" tIns="0" rIns="0" bIns="0" rtlCol="0" anchor="ctr">
            <a:spAutoFit/>
          </a:bodyPr>
          <a:lstStyle>
            <a:lvl1pPr algn="ctr">
              <a:defRPr sz="100">
                <a:solidFill>
                  <a:schemeClr val="dk1"/>
                </a:solidFill>
              </a:defRPr>
            </a:lvl1pPr>
          </a:lstStyle>
          <a:p>
            <a:endParaRPr lang="nb-NO"/>
          </a:p>
        </p:txBody>
      </p:sp>
      <p:sp>
        <p:nvSpPr>
          <p:cNvPr id="6" name="Plassholder for lysbildenummer 5">
            <a:extLst>
              <a:ext uri="{FF2B5EF4-FFF2-40B4-BE49-F238E27FC236}">
                <a16:creationId xmlns:a16="http://schemas.microsoft.com/office/drawing/2014/main" id="{B32316A8-2520-2CFD-627A-62D77CB02A5D}"/>
              </a:ext>
            </a:extLst>
          </p:cNvPr>
          <p:cNvSpPr>
            <a:spLocks noGrp="1"/>
          </p:cNvSpPr>
          <p:nvPr>
            <p:ph type="sldNum" sz="quarter" idx="4"/>
          </p:nvPr>
        </p:nvSpPr>
        <p:spPr>
          <a:xfrm>
            <a:off x="457257" y="4796968"/>
            <a:ext cx="2057400" cy="153888"/>
          </a:xfrm>
          <a:prstGeom prst="rect">
            <a:avLst/>
          </a:prstGeom>
        </p:spPr>
        <p:txBody>
          <a:bodyPr vert="horz" lIns="0" tIns="0" rIns="0" bIns="0" rtlCol="0" anchor="ctr">
            <a:spAutoFit/>
          </a:bodyPr>
          <a:lstStyle>
            <a:lvl1pPr algn="l">
              <a:defRPr sz="1000">
                <a:solidFill>
                  <a:schemeClr val="dk1"/>
                </a:solidFill>
              </a:defRPr>
            </a:lvl1pPr>
          </a:lstStyle>
          <a:p>
            <a:fld id="{20EE8A8A-9F66-4500-8547-91D11C77B4B7}" type="slidenum">
              <a:rPr lang="nb-NO" smtClean="0"/>
              <a:pPr/>
              <a:t>‹#›</a:t>
            </a:fld>
            <a:endParaRPr lang="nb-NO"/>
          </a:p>
        </p:txBody>
      </p:sp>
      <p:pic>
        <p:nvPicPr>
          <p:cNvPr id="13" name="Grafikk 12">
            <a:extLst>
              <a:ext uri="{FF2B5EF4-FFF2-40B4-BE49-F238E27FC236}">
                <a16:creationId xmlns:a16="http://schemas.microsoft.com/office/drawing/2014/main" id="{3990BA13-52AF-0D85-828E-7A521DE0A57E}"/>
              </a:ext>
            </a:extLst>
          </p:cNvPr>
          <p:cNvPicPr>
            <a:picLocks noChangeAspect="1"/>
          </p:cNvPicPr>
          <p:nvPr userDrawn="1"/>
        </p:nvPicPr>
        <p:blipFill>
          <a:blip r:embed="rId34">
            <a:extLst>
              <a:ext uri="{96DAC541-7B7A-43D3-8B79-37D633B846F1}">
                <asvg:svgBlip xmlns:asvg="http://schemas.microsoft.com/office/drawing/2016/SVG/main" r:embed="rId35"/>
              </a:ext>
            </a:extLst>
          </a:blip>
          <a:stretch>
            <a:fillRect/>
          </a:stretch>
        </p:blipFill>
        <p:spPr>
          <a:xfrm>
            <a:off x="457257" y="457257"/>
            <a:ext cx="1202400" cy="291107"/>
          </a:xfrm>
          <a:prstGeom prst="rect">
            <a:avLst/>
          </a:prstGeom>
        </p:spPr>
      </p:pic>
    </p:spTree>
    <p:extLst>
      <p:ext uri="{BB962C8B-B14F-4D97-AF65-F5344CB8AC3E}">
        <p14:creationId xmlns:p14="http://schemas.microsoft.com/office/powerpoint/2010/main" val="2314361335"/>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1" r:id="rId4"/>
    <p:sldLayoutId id="2147483670" r:id="rId5"/>
    <p:sldLayoutId id="2147483661" r:id="rId6"/>
    <p:sldLayoutId id="2147483662" r:id="rId7"/>
    <p:sldLayoutId id="2147483652" r:id="rId8"/>
    <p:sldLayoutId id="2147483671" r:id="rId9"/>
    <p:sldLayoutId id="2147483672" r:id="rId10"/>
    <p:sldLayoutId id="2147483673" r:id="rId11"/>
    <p:sldLayoutId id="2147483682" r:id="rId12"/>
    <p:sldLayoutId id="2147483674" r:id="rId13"/>
    <p:sldLayoutId id="2147483675" r:id="rId14"/>
    <p:sldLayoutId id="2147483676" r:id="rId15"/>
    <p:sldLayoutId id="2147483677" r:id="rId16"/>
    <p:sldLayoutId id="2147483680" r:id="rId17"/>
    <p:sldLayoutId id="2147483678" r:id="rId18"/>
    <p:sldLayoutId id="2147483679" r:id="rId19"/>
    <p:sldLayoutId id="2147483681" r:id="rId20"/>
    <p:sldLayoutId id="2147483654" r:id="rId21"/>
    <p:sldLayoutId id="2147483669" r:id="rId22"/>
    <p:sldLayoutId id="2147483655" r:id="rId23"/>
    <p:sldLayoutId id="2147483663" r:id="rId24"/>
    <p:sldLayoutId id="2147483664" r:id="rId25"/>
    <p:sldLayoutId id="2147483665" r:id="rId26"/>
    <p:sldLayoutId id="2147483666" r:id="rId27"/>
    <p:sldLayoutId id="2147483667" r:id="rId28"/>
    <p:sldLayoutId id="2147483668" r:id="rId29"/>
  </p:sldLayoutIdLst>
  <p:hf hdr="0" ftr="0"/>
  <p:txStyles>
    <p:titleStyle>
      <a:lvl1pPr algn="l" defTabSz="9144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120650" indent="-120650" algn="l" defTabSz="914400" rtl="0" eaLnBrk="1" latinLnBrk="0" hangingPunct="1">
        <a:lnSpc>
          <a:spcPct val="100000"/>
        </a:lnSpc>
        <a:spcBef>
          <a:spcPts val="800"/>
        </a:spcBef>
        <a:buFont typeface="Arial" panose="020B0604020202020204" pitchFamily="34" charset="0"/>
        <a:buChar char="•"/>
        <a:defRPr sz="900" kern="1200">
          <a:solidFill>
            <a:schemeClr val="tx1"/>
          </a:solidFill>
          <a:latin typeface="+mn-lt"/>
          <a:ea typeface="+mn-ea"/>
          <a:cs typeface="+mn-cs"/>
        </a:defRPr>
      </a:lvl1pPr>
      <a:lvl2pPr marL="400050" indent="-120650" algn="l" defTabSz="914400" rtl="0" eaLnBrk="1" latinLnBrk="0" hangingPunct="1">
        <a:lnSpc>
          <a:spcPct val="100000"/>
        </a:lnSpc>
        <a:spcBef>
          <a:spcPts val="800"/>
        </a:spcBef>
        <a:buFont typeface="Arial" panose="020B0604020202020204" pitchFamily="34" charset="0"/>
        <a:buChar char="◦"/>
        <a:defRPr sz="900" kern="1200">
          <a:solidFill>
            <a:schemeClr val="tx1"/>
          </a:solidFill>
          <a:latin typeface="+mn-lt"/>
          <a:ea typeface="+mn-ea"/>
          <a:cs typeface="+mn-cs"/>
        </a:defRPr>
      </a:lvl2pPr>
      <a:lvl3pPr marL="630238" indent="-120650" algn="l" defTabSz="914400" rtl="0" eaLnBrk="1" latinLnBrk="0" hangingPunct="1">
        <a:lnSpc>
          <a:spcPct val="100000"/>
        </a:lnSpc>
        <a:spcBef>
          <a:spcPts val="800"/>
        </a:spcBef>
        <a:buFont typeface="Arial" panose="020B0604020202020204" pitchFamily="34" charset="0"/>
        <a:buChar char="◦"/>
        <a:defRPr sz="900" kern="1200">
          <a:solidFill>
            <a:schemeClr val="tx1"/>
          </a:solidFill>
          <a:latin typeface="+mn-lt"/>
          <a:ea typeface="+mn-ea"/>
          <a:cs typeface="+mn-cs"/>
        </a:defRPr>
      </a:lvl3pPr>
      <a:lvl4pPr marL="896938" indent="-120650" algn="l" defTabSz="914400" rtl="0" eaLnBrk="1" latinLnBrk="0" hangingPunct="1">
        <a:lnSpc>
          <a:spcPct val="100000"/>
        </a:lnSpc>
        <a:spcBef>
          <a:spcPts val="800"/>
        </a:spcBef>
        <a:buFont typeface="Arial" panose="020B0604020202020204" pitchFamily="34" charset="0"/>
        <a:buChar char="◦"/>
        <a:defRPr sz="900" kern="1200">
          <a:solidFill>
            <a:schemeClr val="tx1"/>
          </a:solidFill>
          <a:latin typeface="+mn-lt"/>
          <a:ea typeface="+mn-ea"/>
          <a:cs typeface="+mn-cs"/>
        </a:defRPr>
      </a:lvl4pPr>
      <a:lvl5pPr marL="1162050" indent="-120650" algn="l" defTabSz="914400" rtl="0" eaLnBrk="1" latinLnBrk="0" hangingPunct="1">
        <a:lnSpc>
          <a:spcPct val="100000"/>
        </a:lnSpc>
        <a:spcBef>
          <a:spcPts val="800"/>
        </a:spcBef>
        <a:buFont typeface="Arial" panose="020B0604020202020204" pitchFamily="34" charset="0"/>
        <a:buChar char="◦"/>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xml"/><Relationship Id="rId1" Type="http://schemas.openxmlformats.org/officeDocument/2006/relationships/tags" Target="../tags/tag3.xml"/><Relationship Id="rId5" Type="http://schemas.openxmlformats.org/officeDocument/2006/relationships/image" Target="../media/image31.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1.xml"/><Relationship Id="rId7" Type="http://schemas.openxmlformats.org/officeDocument/2006/relationships/image" Target="../media/image33.png"/><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32.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36.png"/><Relationship Id="rId2" Type="http://schemas.openxmlformats.org/officeDocument/2006/relationships/slideLayout" Target="../slideLayouts/slideLayout10.xml"/><Relationship Id="rId1" Type="http://schemas.openxmlformats.org/officeDocument/2006/relationships/tags" Target="../tags/tag5.xml"/><Relationship Id="rId6" Type="http://schemas.openxmlformats.org/officeDocument/2006/relationships/image" Target="../media/image34.png"/><Relationship Id="rId5" Type="http://schemas.openxmlformats.org/officeDocument/2006/relationships/image" Target="../media/image35.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image" Target="../media/image40.gif"/><Relationship Id="rId3" Type="http://schemas.openxmlformats.org/officeDocument/2006/relationships/oleObject" Target="../embeddings/oleObject5.bin"/><Relationship Id="rId7" Type="http://schemas.openxmlformats.org/officeDocument/2006/relationships/image" Target="../media/image39.png"/><Relationship Id="rId2" Type="http://schemas.openxmlformats.org/officeDocument/2006/relationships/slideLayout" Target="../slideLayouts/slideLayout10.xml"/><Relationship Id="rId1" Type="http://schemas.openxmlformats.org/officeDocument/2006/relationships/tags" Target="../tags/tag6.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gif"/><Relationship Id="rId4" Type="http://schemas.openxmlformats.org/officeDocument/2006/relationships/image" Target="../media/image1.emf"/><Relationship Id="rId9" Type="http://schemas.openxmlformats.org/officeDocument/2006/relationships/image" Target="../media/image41.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7.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8.xml"/><Relationship Id="rId1" Type="http://schemas.openxmlformats.org/officeDocument/2006/relationships/tags" Target="../tags/tag8.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2" Type="http://schemas.microsoft.com/office/2018/10/relationships/comments" Target="../comments/modernComment_112_F889CE7E.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0.xml"/><Relationship Id="rId1" Type="http://schemas.openxmlformats.org/officeDocument/2006/relationships/tags" Target="../tags/tag9.xml"/><Relationship Id="rId5" Type="http://schemas.openxmlformats.org/officeDocument/2006/relationships/image" Target="../media/image44.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E8B56EC-7292-D1FD-439F-B85706CC2184}"/>
              </a:ext>
            </a:extLst>
          </p:cNvPr>
          <p:cNvGraphicFramePr>
            <a:graphicFrameLocks noChangeAspect="1"/>
          </p:cNvGraphicFramePr>
          <p:nvPr>
            <p:custDataLst>
              <p:tags r:id="rId1"/>
            </p:custDataLst>
            <p:extLst>
              <p:ext uri="{D42A27DB-BD31-4B8C-83A1-F6EECF244321}">
                <p14:modId xmlns:p14="http://schemas.microsoft.com/office/powerpoint/2010/main" val="7578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5" name="think-cell data - do not delete" hidden="1">
                        <a:extLst>
                          <a:ext uri="{FF2B5EF4-FFF2-40B4-BE49-F238E27FC236}">
                            <a16:creationId xmlns:a16="http://schemas.microsoft.com/office/drawing/2014/main" id="{9E8B56EC-7292-D1FD-439F-B85706CC21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EB808BFC-B71A-C9E5-5827-2A0376474563}"/>
              </a:ext>
            </a:extLst>
          </p:cNvPr>
          <p:cNvSpPr>
            <a:spLocks noGrp="1"/>
          </p:cNvSpPr>
          <p:nvPr>
            <p:ph type="title"/>
          </p:nvPr>
        </p:nvSpPr>
        <p:spPr>
          <a:xfrm>
            <a:off x="297587" y="837494"/>
            <a:ext cx="3926766" cy="350758"/>
          </a:xfrm>
        </p:spPr>
        <p:txBody>
          <a:bodyPr vert="horz" lIns="0" tIns="0" rIns="0" bIns="0" rtlCol="0" anchor="t">
            <a:normAutofit/>
          </a:bodyPr>
          <a:lstStyle/>
          <a:p>
            <a:pPr>
              <a:lnSpc>
                <a:spcPct val="90000"/>
              </a:lnSpc>
            </a:pPr>
            <a:r>
              <a:rPr lang="nb-NO" sz="1800" kern="1200" dirty="0">
                <a:latin typeface="+mj-lt"/>
                <a:ea typeface="+mj-ea"/>
                <a:cs typeface="+mj-cs"/>
              </a:rPr>
              <a:t>Strømprisindeksen for </a:t>
            </a:r>
            <a:r>
              <a:rPr lang="nb-NO" sz="1800" dirty="0"/>
              <a:t>februar 2025</a:t>
            </a:r>
            <a:endParaRPr lang="nb-NO" sz="1800" kern="1200" dirty="0">
              <a:latin typeface="+mj-lt"/>
              <a:ea typeface="+mj-ea"/>
              <a:cs typeface="+mj-cs"/>
            </a:endParaRPr>
          </a:p>
        </p:txBody>
      </p:sp>
      <p:sp>
        <p:nvSpPr>
          <p:cNvPr id="15" name="TextBox 14">
            <a:extLst>
              <a:ext uri="{FF2B5EF4-FFF2-40B4-BE49-F238E27FC236}">
                <a16:creationId xmlns:a16="http://schemas.microsoft.com/office/drawing/2014/main" id="{71CD328A-FCBF-98DB-A3A2-36A13A7E9980}"/>
              </a:ext>
            </a:extLst>
          </p:cNvPr>
          <p:cNvSpPr txBox="1"/>
          <p:nvPr/>
        </p:nvSpPr>
        <p:spPr>
          <a:xfrm>
            <a:off x="302969" y="1188252"/>
            <a:ext cx="4036769" cy="3334159"/>
          </a:xfrm>
          <a:prstGeom prst="rect">
            <a:avLst/>
          </a:prstGeom>
        </p:spPr>
        <p:txBody>
          <a:bodyPr rot="0" spcFirstLastPara="0" vertOverflow="overflow" horzOverflow="overflow" vert="horz" lIns="0" tIns="0" rIns="0" bIns="0" numCol="1" spcCol="0" rtlCol="0" fromWordArt="0" anchor="t" anchorCtr="0" forceAA="0" compatLnSpc="1">
            <a:prstTxWarp prst="textNoShape">
              <a:avLst/>
            </a:prstTxWarp>
            <a:noAutofit/>
          </a:bodyPr>
          <a:lstStyle/>
          <a:p>
            <a:pPr marL="120650" indent="-120650" defTabSz="914400">
              <a:spcBef>
                <a:spcPts val="800"/>
              </a:spcBef>
              <a:buFont typeface="Arial" panose="020B0604020202020204" pitchFamily="34" charset="0"/>
              <a:buChar char="•"/>
            </a:pPr>
            <a:r>
              <a:rPr lang="nb-NO" sz="830" dirty="0"/>
              <a:t>Strømregningene til husholdninger i Sør-Norge for februar ble marginalt høyere enn regningene for januar, og ble dermed de høyeste regningene siden januar 2024. I Nord-Norge og Midt-Norge gikk derimot strømregningene noe ned i februar.</a:t>
            </a:r>
          </a:p>
          <a:p>
            <a:pPr marL="120650" indent="-120650" defTabSz="914400">
              <a:spcBef>
                <a:spcPts val="800"/>
              </a:spcBef>
              <a:buFont typeface="Arial" panose="020B0604020202020204" pitchFamily="34" charset="0"/>
              <a:buChar char="•"/>
            </a:pPr>
            <a:r>
              <a:rPr lang="nb-NO" sz="830" dirty="0"/>
              <a:t>Strømprisene steg i Sør-Norge og Midt-Norge i februar, hovedsakelig grunnet lite vindkraftproduksjon og økt gasspris som førte til høyere priser lengre sør på kontinentet. I Nord-Norge derimot, falt strømprisene forrige måned.</a:t>
            </a:r>
          </a:p>
          <a:p>
            <a:pPr marL="120650" indent="-120650" defTabSz="914400">
              <a:spcBef>
                <a:spcPts val="800"/>
              </a:spcBef>
              <a:buFont typeface="Arial" panose="020B0604020202020204" pitchFamily="34" charset="0"/>
              <a:buChar char="•"/>
            </a:pPr>
            <a:r>
              <a:rPr lang="nb-NO" sz="830" dirty="0"/>
              <a:t>Strømregningene til husholdninger i Sør-Norge ble likevel på omtrent samme nivå som i januar fordi forbruket var lavere grunnet mildvær, og fordi februar var tre dager kortere enn januar, samt at strømstøtten begrenset pristoppene.</a:t>
            </a:r>
          </a:p>
          <a:p>
            <a:pPr marL="120650" indent="-120650" defTabSz="914400">
              <a:spcBef>
                <a:spcPts val="800"/>
              </a:spcBef>
              <a:buFont typeface="Arial" panose="020B0604020202020204" pitchFamily="34" charset="0"/>
              <a:buChar char="•"/>
            </a:pPr>
            <a:r>
              <a:rPr lang="nb-NO" sz="830" dirty="0"/>
              <a:t>Snittprisen for februar i Nord-Norge er den laveste februar-prisen her noensinne og den laveste månedsprisen siden august 2022.</a:t>
            </a:r>
          </a:p>
          <a:p>
            <a:pPr marL="120650" indent="-120650" defTabSz="914400">
              <a:spcBef>
                <a:spcPts val="800"/>
              </a:spcBef>
              <a:buFont typeface="Arial" panose="020B0604020202020204" pitchFamily="34" charset="0"/>
              <a:buChar char="•"/>
            </a:pPr>
            <a:r>
              <a:rPr lang="nb-NO" sz="830" dirty="0"/>
              <a:t>Strømregningene for februar var litt høyere enn i samme måned i fjor i de sørlige prisområdene. I Nord- og Midt-Norge var strømregningene betydelig lavere.</a:t>
            </a:r>
          </a:p>
          <a:p>
            <a:pPr marL="120650" indent="-120650" defTabSz="914400">
              <a:spcBef>
                <a:spcPts val="800"/>
              </a:spcBef>
              <a:buFont typeface="Arial" panose="020B0604020202020204" pitchFamily="34" charset="0"/>
              <a:buChar char="•"/>
            </a:pPr>
            <a:r>
              <a:rPr lang="nb-NO" sz="830" dirty="0"/>
              <a:t>Strømforbruket i februar var vesentlig lavere enn i samme måned i fjor. Samtidig var strømprisene betydelig høyere i år i de sørlige prisområdene. Til sammen var strømregningene omtrent på samme nivå.</a:t>
            </a:r>
          </a:p>
          <a:p>
            <a:pPr marL="120650" indent="-120650" defTabSz="914400">
              <a:spcBef>
                <a:spcPts val="800"/>
              </a:spcBef>
              <a:buFont typeface="Arial" panose="020B0604020202020204" pitchFamily="34" charset="0"/>
              <a:buChar char="•"/>
            </a:pPr>
            <a:r>
              <a:rPr lang="nb-NO" sz="830" dirty="0"/>
              <a:t>I Nord- og Midt-Norge var strømprisene betydelig lavere i februar enn i samme måned i fjor, hovedsakelig fordi det var mye mer vann i magasinene til vannkraftverkene. </a:t>
            </a:r>
          </a:p>
          <a:p>
            <a:pPr marL="120650" indent="-120650" defTabSz="914400">
              <a:spcBef>
                <a:spcPts val="800"/>
              </a:spcBef>
              <a:buFont typeface="Arial" panose="020B0604020202020204" pitchFamily="34" charset="0"/>
              <a:buChar char="•"/>
            </a:pPr>
            <a:r>
              <a:rPr lang="nb-NO" sz="830" dirty="0"/>
              <a:t>Med Norgespris kunne husholdninger i de sørlige prisområdene spart 500 – 600 kr i februar. I Midt- og Nord-Norge ville de betalt mer.</a:t>
            </a:r>
          </a:p>
        </p:txBody>
      </p:sp>
      <p:sp>
        <p:nvSpPr>
          <p:cNvPr id="7" name="Plassholder for lysbildenummer 6">
            <a:extLst>
              <a:ext uri="{FF2B5EF4-FFF2-40B4-BE49-F238E27FC236}">
                <a16:creationId xmlns:a16="http://schemas.microsoft.com/office/drawing/2014/main" id="{0AC8519B-310F-D2CA-BE3D-69752A6AE198}"/>
              </a:ext>
            </a:extLst>
          </p:cNvPr>
          <p:cNvSpPr>
            <a:spLocks noGrp="1"/>
          </p:cNvSpPr>
          <p:nvPr>
            <p:ph type="sldNum" sz="quarter" idx="12"/>
          </p:nvPr>
        </p:nvSpPr>
        <p:spPr>
          <a:xfrm>
            <a:off x="457257" y="4796968"/>
            <a:ext cx="2057400" cy="153888"/>
          </a:xfrm>
        </p:spPr>
        <p:txBody>
          <a:bodyPr vert="horz" lIns="0" tIns="0" rIns="0" bIns="0" rtlCol="0" anchor="ctr">
            <a:normAutofit/>
          </a:bodyPr>
          <a:lstStyle/>
          <a:p>
            <a:pPr>
              <a:spcAft>
                <a:spcPts val="600"/>
              </a:spcAft>
            </a:pPr>
            <a:fld id="{20EE8A8A-9F66-4500-8547-91D11C77B4B7}" type="slidenum">
              <a:rPr lang="nb-NO" smtClean="0"/>
              <a:pPr>
                <a:spcAft>
                  <a:spcPts val="600"/>
                </a:spcAft>
              </a:pPr>
              <a:t>1</a:t>
            </a:fld>
            <a:endParaRPr lang="nb-NO"/>
          </a:p>
        </p:txBody>
      </p:sp>
      <p:sp>
        <p:nvSpPr>
          <p:cNvPr id="6" name="Plassholder for dato 5">
            <a:extLst>
              <a:ext uri="{FF2B5EF4-FFF2-40B4-BE49-F238E27FC236}">
                <a16:creationId xmlns:a16="http://schemas.microsoft.com/office/drawing/2014/main" id="{6068879A-59D1-FF84-F087-3EEB8BFDFAE4}"/>
              </a:ext>
            </a:extLst>
          </p:cNvPr>
          <p:cNvSpPr>
            <a:spLocks noGrp="1"/>
          </p:cNvSpPr>
          <p:nvPr>
            <p:ph type="dt" sz="half" idx="10"/>
          </p:nvPr>
        </p:nvSpPr>
        <p:spPr/>
        <p:txBody>
          <a:bodyPr/>
          <a:lstStyle/>
          <a:p>
            <a:pPr>
              <a:spcAft>
                <a:spcPts val="600"/>
              </a:spcAft>
            </a:pPr>
            <a:r>
              <a:rPr lang="nb-NO"/>
              <a:t>Oslo, dd.mm.yyyy</a:t>
            </a:r>
          </a:p>
        </p:txBody>
      </p:sp>
      <p:pic>
        <p:nvPicPr>
          <p:cNvPr id="8" name="Bilde 7">
            <a:extLst>
              <a:ext uri="{FF2B5EF4-FFF2-40B4-BE49-F238E27FC236}">
                <a16:creationId xmlns:a16="http://schemas.microsoft.com/office/drawing/2014/main" id="{33FEAC30-9162-9F1F-681F-B6CB70867317}"/>
              </a:ext>
            </a:extLst>
          </p:cNvPr>
          <p:cNvPicPr>
            <a:picLocks noChangeAspect="1"/>
          </p:cNvPicPr>
          <p:nvPr/>
        </p:nvPicPr>
        <p:blipFill>
          <a:blip r:embed="rId5"/>
          <a:stretch>
            <a:fillRect/>
          </a:stretch>
        </p:blipFill>
        <p:spPr>
          <a:xfrm>
            <a:off x="4455123" y="0"/>
            <a:ext cx="4688878" cy="4688878"/>
          </a:xfrm>
          <a:prstGeom prst="rect">
            <a:avLst/>
          </a:prstGeom>
        </p:spPr>
      </p:pic>
    </p:spTree>
    <p:extLst>
      <p:ext uri="{BB962C8B-B14F-4D97-AF65-F5344CB8AC3E}">
        <p14:creationId xmlns:p14="http://schemas.microsoft.com/office/powerpoint/2010/main" val="31499721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079E723-2D8B-9E39-E93A-0F21F77BD225}"/>
              </a:ext>
            </a:extLst>
          </p:cNvPr>
          <p:cNvGraphicFramePr>
            <a:graphicFrameLocks noChangeAspect="1"/>
          </p:cNvGraphicFramePr>
          <p:nvPr>
            <p:custDataLst>
              <p:tags r:id="rId1"/>
            </p:custDataLst>
            <p:extLst>
              <p:ext uri="{D42A27DB-BD31-4B8C-83A1-F6EECF244321}">
                <p14:modId xmlns:p14="http://schemas.microsoft.com/office/powerpoint/2010/main" val="3838131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7" name="think-cell data - do not delete" hidden="1">
                        <a:extLst>
                          <a:ext uri="{FF2B5EF4-FFF2-40B4-BE49-F238E27FC236}">
                            <a16:creationId xmlns:a16="http://schemas.microsoft.com/office/drawing/2014/main" id="{4079E723-2D8B-9E39-E93A-0F21F77BD2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Plassholder for dato 1">
            <a:extLst>
              <a:ext uri="{FF2B5EF4-FFF2-40B4-BE49-F238E27FC236}">
                <a16:creationId xmlns:a16="http://schemas.microsoft.com/office/drawing/2014/main" id="{4787122A-4536-2BFE-134B-7186FF3A34A7}"/>
              </a:ext>
            </a:extLst>
          </p:cNvPr>
          <p:cNvSpPr>
            <a:spLocks noGrp="1"/>
          </p:cNvSpPr>
          <p:nvPr>
            <p:ph type="dt" sz="half" idx="10"/>
          </p:nvPr>
        </p:nvSpPr>
        <p:spPr/>
        <p:txBody>
          <a:bodyPr/>
          <a:lstStyle/>
          <a:p>
            <a:r>
              <a:rPr lang="nb-NO"/>
              <a:t>Oslo, </a:t>
            </a:r>
            <a:r>
              <a:rPr lang="nb-NO" err="1"/>
              <a:t>dd.mm.yyyy</a:t>
            </a:r>
            <a:endParaRPr lang="nb-NO"/>
          </a:p>
        </p:txBody>
      </p:sp>
      <p:sp>
        <p:nvSpPr>
          <p:cNvPr id="3" name="Plassholder for lysbildenummer 2">
            <a:extLst>
              <a:ext uri="{FF2B5EF4-FFF2-40B4-BE49-F238E27FC236}">
                <a16:creationId xmlns:a16="http://schemas.microsoft.com/office/drawing/2014/main" id="{0EB152C5-D1F6-A0FC-C7BA-61454D2120BB}"/>
              </a:ext>
            </a:extLst>
          </p:cNvPr>
          <p:cNvSpPr>
            <a:spLocks noGrp="1"/>
          </p:cNvSpPr>
          <p:nvPr>
            <p:ph type="sldNum" sz="quarter" idx="12"/>
          </p:nvPr>
        </p:nvSpPr>
        <p:spPr/>
        <p:txBody>
          <a:bodyPr/>
          <a:lstStyle/>
          <a:p>
            <a:fld id="{20EE8A8A-9F66-4500-8547-91D11C77B4B7}" type="slidenum">
              <a:rPr lang="nb-NO" smtClean="0"/>
              <a:pPr/>
              <a:t>2</a:t>
            </a:fld>
            <a:endParaRPr lang="nb-NO"/>
          </a:p>
        </p:txBody>
      </p:sp>
      <p:sp>
        <p:nvSpPr>
          <p:cNvPr id="11" name="Tittel 1">
            <a:extLst>
              <a:ext uri="{FF2B5EF4-FFF2-40B4-BE49-F238E27FC236}">
                <a16:creationId xmlns:a16="http://schemas.microsoft.com/office/drawing/2014/main" id="{C9D230B1-551A-0E7A-96AB-ADE59A906758}"/>
              </a:ext>
            </a:extLst>
          </p:cNvPr>
          <p:cNvSpPr>
            <a:spLocks noGrp="1"/>
          </p:cNvSpPr>
          <p:nvPr>
            <p:ph type="title"/>
          </p:nvPr>
        </p:nvSpPr>
        <p:spPr>
          <a:xfrm>
            <a:off x="1581920" y="177171"/>
            <a:ext cx="5980160" cy="494406"/>
          </a:xfrm>
        </p:spPr>
        <p:txBody>
          <a:bodyPr vert="horz"/>
          <a:lstStyle/>
          <a:p>
            <a:r>
              <a:rPr lang="nb-NO">
                <a:solidFill>
                  <a:schemeClr val="accent5">
                    <a:lumMod val="75000"/>
                  </a:schemeClr>
                </a:solidFill>
                <a:cs typeface="Arial"/>
              </a:rPr>
              <a:t>Sammenlikning februar-januar</a:t>
            </a:r>
            <a:endParaRPr lang="nb-NO">
              <a:solidFill>
                <a:schemeClr val="accent5">
                  <a:lumMod val="75000"/>
                </a:schemeClr>
              </a:solidFill>
            </a:endParaRPr>
          </a:p>
        </p:txBody>
      </p:sp>
      <p:sp>
        <p:nvSpPr>
          <p:cNvPr id="15" name="TekstSylinder 14">
            <a:extLst>
              <a:ext uri="{FF2B5EF4-FFF2-40B4-BE49-F238E27FC236}">
                <a16:creationId xmlns:a16="http://schemas.microsoft.com/office/drawing/2014/main" id="{04DCDA78-71F1-811A-A7B3-AF6C80100E58}"/>
              </a:ext>
            </a:extLst>
          </p:cNvPr>
          <p:cNvSpPr txBox="1"/>
          <p:nvPr/>
        </p:nvSpPr>
        <p:spPr>
          <a:xfrm>
            <a:off x="243008" y="684315"/>
            <a:ext cx="4865257" cy="646331"/>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nb-NO" sz="900" dirty="0">
                <a:solidFill>
                  <a:schemeClr val="accent2">
                    <a:lumMod val="50000"/>
                  </a:schemeClr>
                </a:solidFill>
              </a:rPr>
              <a:t>Strømregningene var omtrent uendret i februar i de sørlige prisområdene. I Midt- og Nord-Norge falt regningene noe. </a:t>
            </a:r>
          </a:p>
          <a:p>
            <a:pPr marL="171450" indent="-171450">
              <a:buFont typeface="Arial" panose="020B0604020202020204" pitchFamily="34" charset="0"/>
              <a:buChar char="•"/>
            </a:pPr>
            <a:r>
              <a:rPr lang="nb-NO" sz="900" dirty="0">
                <a:solidFill>
                  <a:schemeClr val="accent2">
                    <a:lumMod val="50000"/>
                  </a:schemeClr>
                </a:solidFill>
              </a:rPr>
              <a:t>Strømprisen økte i de sørlige prisområdene, men dette ble motvirket av redusert forbruk.</a:t>
            </a:r>
          </a:p>
          <a:p>
            <a:pPr marL="171450" indent="-171450">
              <a:buFont typeface="Arial" panose="020B0604020202020204" pitchFamily="34" charset="0"/>
              <a:buChar char="•"/>
            </a:pPr>
            <a:r>
              <a:rPr lang="nb-NO" sz="900" dirty="0">
                <a:solidFill>
                  <a:schemeClr val="accent2">
                    <a:lumMod val="50000"/>
                  </a:schemeClr>
                </a:solidFill>
              </a:rPr>
              <a:t>I Nord- og Midt-Norge ble både pris og forbruk redusert fra januar.</a:t>
            </a:r>
          </a:p>
        </p:txBody>
      </p:sp>
      <p:sp>
        <p:nvSpPr>
          <p:cNvPr id="5" name="TekstSylinder 4">
            <a:extLst>
              <a:ext uri="{FF2B5EF4-FFF2-40B4-BE49-F238E27FC236}">
                <a16:creationId xmlns:a16="http://schemas.microsoft.com/office/drawing/2014/main" id="{1AB5B9F3-8F6E-FB63-4035-D0B61CCAA3FF}"/>
              </a:ext>
            </a:extLst>
          </p:cNvPr>
          <p:cNvSpPr txBox="1"/>
          <p:nvPr/>
        </p:nvSpPr>
        <p:spPr>
          <a:xfrm>
            <a:off x="774239" y="4743576"/>
            <a:ext cx="3971299" cy="261610"/>
          </a:xfrm>
          <a:prstGeom prst="rect">
            <a:avLst/>
          </a:prstGeom>
          <a:noFill/>
        </p:spPr>
        <p:txBody>
          <a:bodyPr wrap="square" rtlCol="0">
            <a:spAutoFit/>
          </a:bodyPr>
          <a:lstStyle/>
          <a:p>
            <a:r>
              <a:rPr lang="nb-NO" sz="1100" i="1"/>
              <a:t>Tall er i norske kroner dersom ikke annet er oppgitt</a:t>
            </a:r>
          </a:p>
        </p:txBody>
      </p:sp>
      <p:pic>
        <p:nvPicPr>
          <p:cNvPr id="9" name="Picture 3">
            <a:extLst>
              <a:ext uri="{FF2B5EF4-FFF2-40B4-BE49-F238E27FC236}">
                <a16:creationId xmlns:a16="http://schemas.microsoft.com/office/drawing/2014/main" id="{D21B8C53-AA53-A852-4492-9BA4D601B04E}"/>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5033586" y="1341108"/>
            <a:ext cx="4110410" cy="3082807"/>
          </a:xfrm>
          <a:prstGeom prst="rect">
            <a:avLst/>
          </a:prstGeom>
        </p:spPr>
      </p:pic>
      <p:pic>
        <p:nvPicPr>
          <p:cNvPr id="4" name="Picture 3">
            <a:extLst>
              <a:ext uri="{FF2B5EF4-FFF2-40B4-BE49-F238E27FC236}">
                <a16:creationId xmlns:a16="http://schemas.microsoft.com/office/drawing/2014/main" id="{F1209CBB-C9AB-BA6E-3FAE-5B8063D6E61B}"/>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2879911" y="1746144"/>
            <a:ext cx="1665856" cy="2827989"/>
          </a:xfrm>
          <a:prstGeom prst="rect">
            <a:avLst/>
          </a:prstGeom>
        </p:spPr>
      </p:pic>
      <p:sp>
        <p:nvSpPr>
          <p:cNvPr id="6" name="TekstSylinder 5">
            <a:extLst>
              <a:ext uri="{FF2B5EF4-FFF2-40B4-BE49-F238E27FC236}">
                <a16:creationId xmlns:a16="http://schemas.microsoft.com/office/drawing/2014/main" id="{98A31114-AE4A-2C3A-5034-C60474D62470}"/>
              </a:ext>
            </a:extLst>
          </p:cNvPr>
          <p:cNvSpPr txBox="1"/>
          <p:nvPr/>
        </p:nvSpPr>
        <p:spPr>
          <a:xfrm>
            <a:off x="5301836" y="1156364"/>
            <a:ext cx="4760812" cy="215444"/>
          </a:xfrm>
          <a:prstGeom prst="rect">
            <a:avLst/>
          </a:prstGeom>
          <a:noFill/>
        </p:spPr>
        <p:txBody>
          <a:bodyPr wrap="square" rtlCol="0">
            <a:spAutoFit/>
          </a:bodyPr>
          <a:lstStyle/>
          <a:p>
            <a:r>
              <a:rPr lang="nb-NO" sz="800">
                <a:solidFill>
                  <a:schemeClr val="accent1">
                    <a:lumMod val="60000"/>
                    <a:lumOff val="40000"/>
                  </a:schemeClr>
                </a:solidFill>
              </a:rPr>
              <a:t>Strømregninger i februar og januar 2025</a:t>
            </a:r>
          </a:p>
        </p:txBody>
      </p:sp>
      <p:pic>
        <p:nvPicPr>
          <p:cNvPr id="10" name="Bilde 9">
            <a:extLst>
              <a:ext uri="{FF2B5EF4-FFF2-40B4-BE49-F238E27FC236}">
                <a16:creationId xmlns:a16="http://schemas.microsoft.com/office/drawing/2014/main" id="{D388F67E-CBD0-6D61-3BE3-4DCD8FC2400A}"/>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774239" y="1756031"/>
            <a:ext cx="1661197" cy="2808213"/>
          </a:xfrm>
          <a:prstGeom prst="rect">
            <a:avLst/>
          </a:prstGeom>
        </p:spPr>
      </p:pic>
    </p:spTree>
    <p:extLst>
      <p:ext uri="{BB962C8B-B14F-4D97-AF65-F5344CB8AC3E}">
        <p14:creationId xmlns:p14="http://schemas.microsoft.com/office/powerpoint/2010/main" val="9643459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A0A2B6D-88E9-5295-3A1E-C54929634722}"/>
              </a:ext>
            </a:extLst>
          </p:cNvPr>
          <p:cNvGraphicFramePr>
            <a:graphicFrameLocks noChangeAspect="1"/>
          </p:cNvGraphicFramePr>
          <p:nvPr>
            <p:custDataLst>
              <p:tags r:id="rId1"/>
            </p:custDataLst>
            <p:extLst>
              <p:ext uri="{D42A27DB-BD31-4B8C-83A1-F6EECF244321}">
                <p14:modId xmlns:p14="http://schemas.microsoft.com/office/powerpoint/2010/main" val="2768368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9" name="think-cell data - do not delete" hidden="1">
                        <a:extLst>
                          <a:ext uri="{FF2B5EF4-FFF2-40B4-BE49-F238E27FC236}">
                            <a16:creationId xmlns:a16="http://schemas.microsoft.com/office/drawing/2014/main" id="{9A0A2B6D-88E9-5295-3A1E-C549296347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ssholder for dato 1">
            <a:extLst>
              <a:ext uri="{FF2B5EF4-FFF2-40B4-BE49-F238E27FC236}">
                <a16:creationId xmlns:a16="http://schemas.microsoft.com/office/drawing/2014/main" id="{4787122A-4536-2BFE-134B-7186FF3A34A7}"/>
              </a:ext>
            </a:extLst>
          </p:cNvPr>
          <p:cNvSpPr>
            <a:spLocks noGrp="1"/>
          </p:cNvSpPr>
          <p:nvPr>
            <p:ph type="dt" sz="half" idx="10"/>
          </p:nvPr>
        </p:nvSpPr>
        <p:spPr/>
        <p:txBody>
          <a:bodyPr/>
          <a:lstStyle/>
          <a:p>
            <a:r>
              <a:rPr lang="nb-NO"/>
              <a:t>Oslo, dd.mm.yyyy</a:t>
            </a:r>
          </a:p>
        </p:txBody>
      </p:sp>
      <p:sp>
        <p:nvSpPr>
          <p:cNvPr id="3" name="Plassholder for lysbildenummer 2">
            <a:extLst>
              <a:ext uri="{FF2B5EF4-FFF2-40B4-BE49-F238E27FC236}">
                <a16:creationId xmlns:a16="http://schemas.microsoft.com/office/drawing/2014/main" id="{0EB152C5-D1F6-A0FC-C7BA-61454D2120BB}"/>
              </a:ext>
            </a:extLst>
          </p:cNvPr>
          <p:cNvSpPr>
            <a:spLocks noGrp="1"/>
          </p:cNvSpPr>
          <p:nvPr>
            <p:ph type="sldNum" sz="quarter" idx="12"/>
          </p:nvPr>
        </p:nvSpPr>
        <p:spPr/>
        <p:txBody>
          <a:bodyPr/>
          <a:lstStyle/>
          <a:p>
            <a:fld id="{20EE8A8A-9F66-4500-8547-91D11C77B4B7}" type="slidenum">
              <a:rPr lang="nb-NO" smtClean="0"/>
              <a:pPr/>
              <a:t>3</a:t>
            </a:fld>
            <a:endParaRPr lang="nb-NO"/>
          </a:p>
        </p:txBody>
      </p:sp>
      <p:sp>
        <p:nvSpPr>
          <p:cNvPr id="11" name="Tittel 1">
            <a:extLst>
              <a:ext uri="{FF2B5EF4-FFF2-40B4-BE49-F238E27FC236}">
                <a16:creationId xmlns:a16="http://schemas.microsoft.com/office/drawing/2014/main" id="{C9D230B1-551A-0E7A-96AB-ADE59A906758}"/>
              </a:ext>
            </a:extLst>
          </p:cNvPr>
          <p:cNvSpPr>
            <a:spLocks noGrp="1"/>
          </p:cNvSpPr>
          <p:nvPr>
            <p:ph type="title"/>
          </p:nvPr>
        </p:nvSpPr>
        <p:spPr>
          <a:xfrm>
            <a:off x="1955612" y="449868"/>
            <a:ext cx="5359586" cy="664797"/>
          </a:xfrm>
        </p:spPr>
        <p:txBody>
          <a:bodyPr vert="horz"/>
          <a:lstStyle/>
          <a:p>
            <a:r>
              <a:rPr lang="nb-NO">
                <a:solidFill>
                  <a:schemeClr val="accent5">
                    <a:lumMod val="75000"/>
                  </a:schemeClr>
                </a:solidFill>
                <a:cs typeface="Arial"/>
              </a:rPr>
              <a:t>Sammenligning februar 2025-2024</a:t>
            </a:r>
            <a:endParaRPr lang="nb-NO">
              <a:solidFill>
                <a:schemeClr val="accent5">
                  <a:lumMod val="75000"/>
                </a:schemeClr>
              </a:solidFill>
            </a:endParaRPr>
          </a:p>
        </p:txBody>
      </p:sp>
      <p:pic>
        <p:nvPicPr>
          <p:cNvPr id="5" name="Picture 4">
            <a:extLst>
              <a:ext uri="{FF2B5EF4-FFF2-40B4-BE49-F238E27FC236}">
                <a16:creationId xmlns:a16="http://schemas.microsoft.com/office/drawing/2014/main" id="{1FC70556-B41D-FA15-EDBD-21B7105AEC8B}"/>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10667" y="1269083"/>
            <a:ext cx="4230173" cy="3172629"/>
          </a:xfrm>
          <a:prstGeom prst="rect">
            <a:avLst/>
          </a:prstGeom>
        </p:spPr>
      </p:pic>
      <p:pic>
        <p:nvPicPr>
          <p:cNvPr id="4" name="Picture 3">
            <a:extLst>
              <a:ext uri="{FF2B5EF4-FFF2-40B4-BE49-F238E27FC236}">
                <a16:creationId xmlns:a16="http://schemas.microsoft.com/office/drawing/2014/main" id="{333A123B-CC7B-438C-45B1-FD90C4A986EA}"/>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20789" y="1600029"/>
            <a:ext cx="1704238" cy="2880973"/>
          </a:xfrm>
          <a:prstGeom prst="rect">
            <a:avLst/>
          </a:prstGeom>
        </p:spPr>
      </p:pic>
      <p:pic>
        <p:nvPicPr>
          <p:cNvPr id="6" name="Picture 5">
            <a:extLst>
              <a:ext uri="{FF2B5EF4-FFF2-40B4-BE49-F238E27FC236}">
                <a16:creationId xmlns:a16="http://schemas.microsoft.com/office/drawing/2014/main" id="{E247D54D-3951-79FF-87AE-26509570666F}"/>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2977190" y="1596557"/>
            <a:ext cx="1708345" cy="2887916"/>
          </a:xfrm>
          <a:prstGeom prst="rect">
            <a:avLst/>
          </a:prstGeom>
        </p:spPr>
      </p:pic>
      <p:sp>
        <p:nvSpPr>
          <p:cNvPr id="7" name="TekstSylinder 6">
            <a:extLst>
              <a:ext uri="{FF2B5EF4-FFF2-40B4-BE49-F238E27FC236}">
                <a16:creationId xmlns:a16="http://schemas.microsoft.com/office/drawing/2014/main" id="{A033AADF-D07F-262B-FDF8-3A80D13F93CB}"/>
              </a:ext>
            </a:extLst>
          </p:cNvPr>
          <p:cNvSpPr txBox="1"/>
          <p:nvPr/>
        </p:nvSpPr>
        <p:spPr>
          <a:xfrm>
            <a:off x="774239" y="4743576"/>
            <a:ext cx="3971299" cy="261610"/>
          </a:xfrm>
          <a:prstGeom prst="rect">
            <a:avLst/>
          </a:prstGeom>
          <a:noFill/>
        </p:spPr>
        <p:txBody>
          <a:bodyPr wrap="square" rtlCol="0">
            <a:spAutoFit/>
          </a:bodyPr>
          <a:lstStyle/>
          <a:p>
            <a:r>
              <a:rPr lang="nb-NO" sz="1100" i="1">
                <a:solidFill>
                  <a:schemeClr val="bg1"/>
                </a:solidFill>
              </a:rPr>
              <a:t>Tall er i norske kroner dersom ikke annet er oppgitt</a:t>
            </a:r>
          </a:p>
        </p:txBody>
      </p:sp>
      <p:sp>
        <p:nvSpPr>
          <p:cNvPr id="14" name="TekstSylinder 13">
            <a:extLst>
              <a:ext uri="{FF2B5EF4-FFF2-40B4-BE49-F238E27FC236}">
                <a16:creationId xmlns:a16="http://schemas.microsoft.com/office/drawing/2014/main" id="{21531C8D-908F-3C5D-76AA-208A0DF8D559}"/>
              </a:ext>
            </a:extLst>
          </p:cNvPr>
          <p:cNvSpPr txBox="1"/>
          <p:nvPr/>
        </p:nvSpPr>
        <p:spPr>
          <a:xfrm>
            <a:off x="220768" y="924405"/>
            <a:ext cx="4871489" cy="461665"/>
          </a:xfrm>
          <a:prstGeom prst="rect">
            <a:avLst/>
          </a:prstGeom>
          <a:noFill/>
        </p:spPr>
        <p:txBody>
          <a:bodyPr wrap="square" rtlCol="0">
            <a:spAutoFit/>
          </a:bodyPr>
          <a:lstStyle/>
          <a:p>
            <a:pPr marL="171450" indent="-171450">
              <a:buFont typeface="Arial" panose="020B0604020202020204" pitchFamily="34" charset="0"/>
              <a:buChar char="•"/>
            </a:pPr>
            <a:r>
              <a:rPr lang="nb-NO" sz="800">
                <a:solidFill>
                  <a:schemeClr val="accent1">
                    <a:lumMod val="60000"/>
                    <a:lumOff val="40000"/>
                  </a:schemeClr>
                </a:solidFill>
              </a:rPr>
              <a:t>Strømregningene for januar 2025 er betydelig lavere enn regningene for januar 2024.</a:t>
            </a:r>
          </a:p>
          <a:p>
            <a:pPr marL="171450" indent="-171450">
              <a:buFont typeface="Arial" panose="020B0604020202020204" pitchFamily="34" charset="0"/>
              <a:buChar char="•"/>
            </a:pPr>
            <a:r>
              <a:rPr lang="nb-NO" sz="800">
                <a:solidFill>
                  <a:schemeClr val="accent1">
                    <a:lumMod val="60000"/>
                    <a:lumOff val="40000"/>
                  </a:schemeClr>
                </a:solidFill>
              </a:rPr>
              <a:t>De lavere strømregningene skyldes at både strømprisene og strømforbruket har falt.  </a:t>
            </a:r>
          </a:p>
          <a:p>
            <a:pPr marL="171450" indent="-171450">
              <a:buFont typeface="Arial" panose="020B0604020202020204" pitchFamily="34" charset="0"/>
              <a:buChar char="•"/>
            </a:pPr>
            <a:r>
              <a:rPr lang="nb-NO" sz="800">
                <a:solidFill>
                  <a:schemeClr val="accent1">
                    <a:lumMod val="60000"/>
                    <a:lumOff val="40000"/>
                  </a:schemeClr>
                </a:solidFill>
              </a:rPr>
              <a:t>Strømprisene i januar var betydelig lavere enn i samme måned i 2024. </a:t>
            </a:r>
          </a:p>
        </p:txBody>
      </p:sp>
      <p:sp>
        <p:nvSpPr>
          <p:cNvPr id="8" name="TekstSylinder 7">
            <a:extLst>
              <a:ext uri="{FF2B5EF4-FFF2-40B4-BE49-F238E27FC236}">
                <a16:creationId xmlns:a16="http://schemas.microsoft.com/office/drawing/2014/main" id="{9F768446-0AB2-B3E1-3333-88CAAE767719}"/>
              </a:ext>
            </a:extLst>
          </p:cNvPr>
          <p:cNvSpPr txBox="1"/>
          <p:nvPr/>
        </p:nvSpPr>
        <p:spPr>
          <a:xfrm>
            <a:off x="5050498" y="1104929"/>
            <a:ext cx="4760812" cy="215444"/>
          </a:xfrm>
          <a:prstGeom prst="rect">
            <a:avLst/>
          </a:prstGeom>
          <a:noFill/>
        </p:spPr>
        <p:txBody>
          <a:bodyPr wrap="square" rtlCol="0">
            <a:spAutoFit/>
          </a:bodyPr>
          <a:lstStyle/>
          <a:p>
            <a:r>
              <a:rPr lang="nb-NO" sz="800">
                <a:solidFill>
                  <a:schemeClr val="accent1">
                    <a:lumMod val="60000"/>
                    <a:lumOff val="40000"/>
                  </a:schemeClr>
                </a:solidFill>
              </a:rPr>
              <a:t>Strømregninger februar 2025 og februar 2024</a:t>
            </a:r>
          </a:p>
        </p:txBody>
      </p:sp>
    </p:spTree>
    <p:extLst>
      <p:ext uri="{BB962C8B-B14F-4D97-AF65-F5344CB8AC3E}">
        <p14:creationId xmlns:p14="http://schemas.microsoft.com/office/powerpoint/2010/main" val="42750140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E601A1A-2629-9E12-9DFE-9BDAC856ED65}"/>
              </a:ext>
            </a:extLst>
          </p:cNvPr>
          <p:cNvGraphicFramePr>
            <a:graphicFrameLocks noChangeAspect="1"/>
          </p:cNvGraphicFramePr>
          <p:nvPr>
            <p:custDataLst>
              <p:tags r:id="rId1"/>
            </p:custDataLst>
            <p:extLst>
              <p:ext uri="{D42A27DB-BD31-4B8C-83A1-F6EECF244321}">
                <p14:modId xmlns:p14="http://schemas.microsoft.com/office/powerpoint/2010/main" val="2814749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9" name="think-cell data - do not delete" hidden="1">
                        <a:extLst>
                          <a:ext uri="{FF2B5EF4-FFF2-40B4-BE49-F238E27FC236}">
                            <a16:creationId xmlns:a16="http://schemas.microsoft.com/office/drawing/2014/main" id="{8E601A1A-2629-9E12-9DFE-9BDAC856ED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ssholder for dato 1">
            <a:extLst>
              <a:ext uri="{FF2B5EF4-FFF2-40B4-BE49-F238E27FC236}">
                <a16:creationId xmlns:a16="http://schemas.microsoft.com/office/drawing/2014/main" id="{453928CA-7646-A487-8996-CE97A6275D40}"/>
              </a:ext>
            </a:extLst>
          </p:cNvPr>
          <p:cNvSpPr>
            <a:spLocks noGrp="1"/>
          </p:cNvSpPr>
          <p:nvPr>
            <p:ph type="dt" sz="half" idx="10"/>
          </p:nvPr>
        </p:nvSpPr>
        <p:spPr/>
        <p:txBody>
          <a:bodyPr/>
          <a:lstStyle/>
          <a:p>
            <a:r>
              <a:rPr lang="nb-NO"/>
              <a:t>Oslo, dd.mm.yyyy</a:t>
            </a:r>
          </a:p>
        </p:txBody>
      </p:sp>
      <p:sp>
        <p:nvSpPr>
          <p:cNvPr id="3" name="Plassholder for lysbildenummer 2">
            <a:extLst>
              <a:ext uri="{FF2B5EF4-FFF2-40B4-BE49-F238E27FC236}">
                <a16:creationId xmlns:a16="http://schemas.microsoft.com/office/drawing/2014/main" id="{81775C7B-262E-DE67-74E1-4F51072BE205}"/>
              </a:ext>
            </a:extLst>
          </p:cNvPr>
          <p:cNvSpPr>
            <a:spLocks noGrp="1"/>
          </p:cNvSpPr>
          <p:nvPr>
            <p:ph type="sldNum" sz="quarter" idx="12"/>
          </p:nvPr>
        </p:nvSpPr>
        <p:spPr/>
        <p:txBody>
          <a:bodyPr/>
          <a:lstStyle/>
          <a:p>
            <a:fld id="{20EE8A8A-9F66-4500-8547-91D11C77B4B7}" type="slidenum">
              <a:rPr lang="nb-NO" smtClean="0"/>
              <a:pPr/>
              <a:t>4</a:t>
            </a:fld>
            <a:endParaRPr lang="nb-NO"/>
          </a:p>
        </p:txBody>
      </p:sp>
      <p:sp>
        <p:nvSpPr>
          <p:cNvPr id="4" name="Tittel 3">
            <a:extLst>
              <a:ext uri="{FF2B5EF4-FFF2-40B4-BE49-F238E27FC236}">
                <a16:creationId xmlns:a16="http://schemas.microsoft.com/office/drawing/2014/main" id="{BF121519-CDDC-1962-9CD6-6AAC2E69BFCB}"/>
              </a:ext>
            </a:extLst>
          </p:cNvPr>
          <p:cNvSpPr>
            <a:spLocks noGrp="1"/>
          </p:cNvSpPr>
          <p:nvPr>
            <p:ph type="title"/>
          </p:nvPr>
        </p:nvSpPr>
        <p:spPr/>
        <p:txBody>
          <a:bodyPr vert="horz"/>
          <a:lstStyle/>
          <a:p>
            <a:r>
              <a:rPr lang="nb-NO"/>
              <a:t>Kraftutveksling</a:t>
            </a:r>
          </a:p>
        </p:txBody>
      </p:sp>
      <p:pic>
        <p:nvPicPr>
          <p:cNvPr id="12" name="Plassholder for innhold 11">
            <a:extLst>
              <a:ext uri="{FF2B5EF4-FFF2-40B4-BE49-F238E27FC236}">
                <a16:creationId xmlns:a16="http://schemas.microsoft.com/office/drawing/2014/main" id="{475A88D7-D294-62B2-8755-82110AB84DD1}"/>
              </a:ext>
            </a:extLst>
          </p:cNvPr>
          <p:cNvPicPr>
            <a:picLocks noGrp="1" noChangeAspect="1"/>
          </p:cNvPicPr>
          <p:nvPr>
            <p:ph idx="1"/>
          </p:nvPr>
        </p:nvPicPr>
        <p:blipFill>
          <a:blip r:embed="rId5">
            <a:extLst>
              <a:ext uri="{28A0092B-C50C-407E-A947-70E740481C1C}">
                <a14:useLocalDpi xmlns:a14="http://schemas.microsoft.com/office/drawing/2010/main" val="0"/>
              </a:ext>
            </a:extLst>
          </a:blip>
          <a:srcRect/>
          <a:stretch/>
        </p:blipFill>
        <p:spPr>
          <a:xfrm>
            <a:off x="6096346" y="701624"/>
            <a:ext cx="2705555" cy="3865081"/>
          </a:xfrm>
        </p:spPr>
      </p:pic>
      <p:pic>
        <p:nvPicPr>
          <p:cNvPr id="10" name="Plassholder for innhold 9">
            <a:extLst>
              <a:ext uri="{FF2B5EF4-FFF2-40B4-BE49-F238E27FC236}">
                <a16:creationId xmlns:a16="http://schemas.microsoft.com/office/drawing/2014/main" id="{EDD2A1DB-03B4-A540-E2CF-68A1C96AF138}"/>
              </a:ext>
            </a:extLst>
          </p:cNvPr>
          <p:cNvPicPr>
            <a:picLocks noGrp="1" noChangeAspect="1"/>
          </p:cNvPicPr>
          <p:nvPr>
            <p:ph idx="14"/>
          </p:nvPr>
        </p:nvPicPr>
        <p:blipFill>
          <a:blip r:embed="rId6">
            <a:extLst>
              <a:ext uri="{28A0092B-C50C-407E-A947-70E740481C1C}">
                <a14:useLocalDpi xmlns:a14="http://schemas.microsoft.com/office/drawing/2010/main" val="0"/>
              </a:ext>
            </a:extLst>
          </a:blip>
          <a:srcRect/>
          <a:stretch/>
        </p:blipFill>
        <p:spPr>
          <a:xfrm>
            <a:off x="3278058" y="540048"/>
            <a:ext cx="2818288" cy="3865081"/>
          </a:xfrm>
          <a:prstGeom prst="rect">
            <a:avLst/>
          </a:prstGeom>
        </p:spPr>
      </p:pic>
      <p:sp>
        <p:nvSpPr>
          <p:cNvPr id="13" name="TekstSylinder 12">
            <a:extLst>
              <a:ext uri="{FF2B5EF4-FFF2-40B4-BE49-F238E27FC236}">
                <a16:creationId xmlns:a16="http://schemas.microsoft.com/office/drawing/2014/main" id="{D3816D81-2F0C-5C31-0215-8B391B6646ED}"/>
              </a:ext>
            </a:extLst>
          </p:cNvPr>
          <p:cNvSpPr txBox="1"/>
          <p:nvPr/>
        </p:nvSpPr>
        <p:spPr>
          <a:xfrm>
            <a:off x="457257" y="1643063"/>
            <a:ext cx="2786598" cy="2462213"/>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nb-NO" sz="1100" dirty="0"/>
              <a:t>I februar hadde vi nettopeksport av strøm til alle landene vi er koblet til.</a:t>
            </a:r>
          </a:p>
          <a:p>
            <a:pPr marL="285750" indent="-285750">
              <a:buFont typeface="Arial" panose="020B0604020202020204" pitchFamily="34" charset="0"/>
              <a:buChar char="•"/>
            </a:pPr>
            <a:r>
              <a:rPr lang="nb-NO" sz="1100" dirty="0"/>
              <a:t>Strømprisene i Europa var langt høyere enn i Norge i februar. Høy vannkraftproduksjon bidro til å holde de norske prisene nede.</a:t>
            </a:r>
            <a:endParaRPr lang="nb-NO" sz="1100" dirty="0">
              <a:cs typeface="Arial"/>
            </a:endParaRPr>
          </a:p>
          <a:p>
            <a:pPr marL="285750" indent="-285750">
              <a:buFont typeface="Arial" panose="020B0604020202020204" pitchFamily="34" charset="0"/>
              <a:buChar char="•"/>
            </a:pPr>
            <a:r>
              <a:rPr lang="nb-NO" sz="1100" dirty="0"/>
              <a:t>Dette er første måned siden august 2023 at Norge har hatt nettoeksport av strøm til Sverige. Den høye eksporten skyldes hovedsakelig at det var svært høy vannkraft-produksjon i Nord-Norge i februar. </a:t>
            </a:r>
          </a:p>
          <a:p>
            <a:pPr marL="285750" indent="-285750">
              <a:buFont typeface="Arial" panose="020B0604020202020204" pitchFamily="34" charset="0"/>
              <a:buChar char="•"/>
            </a:pPr>
            <a:r>
              <a:rPr lang="nb-NO" sz="1100" dirty="0"/>
              <a:t>I sum eksporterte vi ca. 3 </a:t>
            </a:r>
            <a:r>
              <a:rPr lang="nb-NO" sz="1100" dirty="0" err="1"/>
              <a:t>TWh</a:t>
            </a:r>
            <a:r>
              <a:rPr lang="nb-NO" sz="1100" dirty="0"/>
              <a:t> med strøm i februar. 	</a:t>
            </a:r>
            <a:endParaRPr lang="nb-NO" sz="1100" dirty="0">
              <a:cs typeface="Arial"/>
            </a:endParaRPr>
          </a:p>
        </p:txBody>
      </p:sp>
      <p:pic>
        <p:nvPicPr>
          <p:cNvPr id="1026" name="Picture 2" descr="Danmarks flagg og våpen – Store norske leksikon">
            <a:extLst>
              <a:ext uri="{FF2B5EF4-FFF2-40B4-BE49-F238E27FC236}">
                <a16:creationId xmlns:a16="http://schemas.microsoft.com/office/drawing/2014/main" id="{A3000F04-E780-98BA-A9F5-FBB1AD330F2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51140" y="3919740"/>
            <a:ext cx="416004" cy="31122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veriges flagg og våpen – Store norske leksikon">
            <a:extLst>
              <a:ext uri="{FF2B5EF4-FFF2-40B4-BE49-F238E27FC236}">
                <a16:creationId xmlns:a16="http://schemas.microsoft.com/office/drawing/2014/main" id="{7BD95610-1C21-5E69-CD9D-A797BAA38B1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24493" y="3930703"/>
            <a:ext cx="434232" cy="32177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Flag of the United Kingdom - Wikipedia">
            <a:extLst>
              <a:ext uri="{FF2B5EF4-FFF2-40B4-BE49-F238E27FC236}">
                <a16:creationId xmlns:a16="http://schemas.microsoft.com/office/drawing/2014/main" id="{ACF3AF7C-A2DE-81CC-E858-516CB40827C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374148" y="3930703"/>
            <a:ext cx="427132" cy="3048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Nederlands flagg og våpen – Store norske leksikon">
            <a:extLst>
              <a:ext uri="{FF2B5EF4-FFF2-40B4-BE49-F238E27FC236}">
                <a16:creationId xmlns:a16="http://schemas.microsoft.com/office/drawing/2014/main" id="{8EF0B950-C72C-D5A3-948A-06A2609A5B9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910525" y="3910987"/>
            <a:ext cx="416983" cy="317652"/>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Tysklands flagg og våpen – Store norske leksikon">
            <a:extLst>
              <a:ext uri="{FF2B5EF4-FFF2-40B4-BE49-F238E27FC236}">
                <a16:creationId xmlns:a16="http://schemas.microsoft.com/office/drawing/2014/main" id="{93E8EE5C-F00F-9D19-55F8-6D26C925544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281939" y="3930703"/>
            <a:ext cx="427132" cy="304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06645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357CBFE-67B8-6958-F926-F7EF5569B0E6}"/>
              </a:ext>
            </a:extLst>
          </p:cNvPr>
          <p:cNvGraphicFramePr>
            <a:graphicFrameLocks noChangeAspect="1"/>
          </p:cNvGraphicFramePr>
          <p:nvPr>
            <p:custDataLst>
              <p:tags r:id="rId1"/>
            </p:custDataLst>
            <p:extLst>
              <p:ext uri="{D42A27DB-BD31-4B8C-83A1-F6EECF244321}">
                <p14:modId xmlns:p14="http://schemas.microsoft.com/office/powerpoint/2010/main" val="156783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5" name="think-cell data - do not delete" hidden="1">
                        <a:extLst>
                          <a:ext uri="{FF2B5EF4-FFF2-40B4-BE49-F238E27FC236}">
                            <a16:creationId xmlns:a16="http://schemas.microsoft.com/office/drawing/2014/main" id="{F357CBFE-67B8-6958-F926-F7EF5569B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ext Placeholder 2">
            <a:extLst>
              <a:ext uri="{FF2B5EF4-FFF2-40B4-BE49-F238E27FC236}">
                <a16:creationId xmlns:a16="http://schemas.microsoft.com/office/drawing/2014/main" id="{29A5425B-7AF1-1FCB-F05D-DEFBAC607882}"/>
              </a:ext>
            </a:extLst>
          </p:cNvPr>
          <p:cNvSpPr>
            <a:spLocks noGrp="1"/>
          </p:cNvSpPr>
          <p:nvPr>
            <p:ph type="body" sz="quarter" idx="16"/>
          </p:nvPr>
        </p:nvSpPr>
        <p:spPr>
          <a:xfrm>
            <a:off x="0" y="0"/>
            <a:ext cx="5438103" cy="4657748"/>
          </a:xfrm>
          <a:ln>
            <a:noFill/>
          </a:ln>
        </p:spPr>
        <p:txBody>
          <a:bodyPr/>
          <a:lstStyle/>
          <a:p>
            <a:endParaRPr lang="en-US"/>
          </a:p>
        </p:txBody>
      </p:sp>
      <p:sp>
        <p:nvSpPr>
          <p:cNvPr id="7" name="Plassholder for lysbildenummer 6">
            <a:extLst>
              <a:ext uri="{FF2B5EF4-FFF2-40B4-BE49-F238E27FC236}">
                <a16:creationId xmlns:a16="http://schemas.microsoft.com/office/drawing/2014/main" id="{94EAE05A-F727-0685-6F86-2AD507987A78}"/>
              </a:ext>
            </a:extLst>
          </p:cNvPr>
          <p:cNvSpPr>
            <a:spLocks noGrp="1"/>
          </p:cNvSpPr>
          <p:nvPr>
            <p:ph type="sldNum" sz="quarter" idx="12"/>
          </p:nvPr>
        </p:nvSpPr>
        <p:spPr>
          <a:xfrm>
            <a:off x="457257" y="4796968"/>
            <a:ext cx="2057400" cy="153888"/>
          </a:xfrm>
        </p:spPr>
        <p:txBody>
          <a:bodyPr anchor="ctr">
            <a:normAutofit/>
          </a:bodyPr>
          <a:lstStyle/>
          <a:p>
            <a:pPr>
              <a:spcAft>
                <a:spcPts val="600"/>
              </a:spcAft>
            </a:pPr>
            <a:fld id="{20EE8A8A-9F66-4500-8547-91D11C77B4B7}" type="slidenum">
              <a:rPr lang="nb-NO" smtClean="0"/>
              <a:pPr>
                <a:spcAft>
                  <a:spcPts val="600"/>
                </a:spcAft>
              </a:pPr>
              <a:t>5</a:t>
            </a:fld>
            <a:endParaRPr lang="nb-NO"/>
          </a:p>
        </p:txBody>
      </p:sp>
      <p:sp>
        <p:nvSpPr>
          <p:cNvPr id="27" name="Title 5">
            <a:extLst>
              <a:ext uri="{FF2B5EF4-FFF2-40B4-BE49-F238E27FC236}">
                <a16:creationId xmlns:a16="http://schemas.microsoft.com/office/drawing/2014/main" id="{D4479EF9-3012-3964-A9D0-6C16A3C05105}"/>
              </a:ext>
            </a:extLst>
          </p:cNvPr>
          <p:cNvSpPr>
            <a:spLocks noGrp="1"/>
          </p:cNvSpPr>
          <p:nvPr>
            <p:ph type="title"/>
          </p:nvPr>
        </p:nvSpPr>
        <p:spPr>
          <a:xfrm>
            <a:off x="1956803" y="398513"/>
            <a:ext cx="5774034" cy="664797"/>
          </a:xfrm>
        </p:spPr>
        <p:txBody>
          <a:bodyPr vert="horz"/>
          <a:lstStyle/>
          <a:p>
            <a:r>
              <a:rPr lang="nb-NO">
                <a:cs typeface="Arial"/>
              </a:rPr>
              <a:t>Hva forklarer strømprisene i januar?</a:t>
            </a:r>
            <a:endParaRPr lang="nb-NO"/>
          </a:p>
        </p:txBody>
      </p:sp>
      <p:sp>
        <p:nvSpPr>
          <p:cNvPr id="6" name="Plassholder for dato 5">
            <a:extLst>
              <a:ext uri="{FF2B5EF4-FFF2-40B4-BE49-F238E27FC236}">
                <a16:creationId xmlns:a16="http://schemas.microsoft.com/office/drawing/2014/main" id="{2598B32B-A883-0F3D-57FD-5F9BDF19C4DC}"/>
              </a:ext>
            </a:extLst>
          </p:cNvPr>
          <p:cNvSpPr>
            <a:spLocks noGrp="1"/>
          </p:cNvSpPr>
          <p:nvPr>
            <p:ph type="dt" sz="half" idx="10"/>
          </p:nvPr>
        </p:nvSpPr>
        <p:spPr/>
        <p:txBody>
          <a:bodyPr/>
          <a:lstStyle/>
          <a:p>
            <a:pPr>
              <a:spcAft>
                <a:spcPts val="600"/>
              </a:spcAft>
            </a:pPr>
            <a:r>
              <a:rPr lang="nb-NO"/>
              <a:t>Oslo, dd.mm.yyyy</a:t>
            </a:r>
          </a:p>
        </p:txBody>
      </p:sp>
      <p:sp>
        <p:nvSpPr>
          <p:cNvPr id="3" name="TekstSylinder 2">
            <a:extLst>
              <a:ext uri="{FF2B5EF4-FFF2-40B4-BE49-F238E27FC236}">
                <a16:creationId xmlns:a16="http://schemas.microsoft.com/office/drawing/2014/main" id="{8A3EFEB1-D7F7-A46E-7DED-AE462CEAB1A0}"/>
              </a:ext>
            </a:extLst>
          </p:cNvPr>
          <p:cNvSpPr txBox="1"/>
          <p:nvPr/>
        </p:nvSpPr>
        <p:spPr>
          <a:xfrm>
            <a:off x="280502" y="897875"/>
            <a:ext cx="4000459" cy="3499163"/>
          </a:xfrm>
          <a:prstGeom prst="rect">
            <a:avLst/>
          </a:prstGeom>
          <a:noFill/>
          <a:ln>
            <a:noFill/>
          </a:ln>
        </p:spPr>
        <p:txBody>
          <a:bodyPr wrap="square" lIns="91440" tIns="45720" rIns="91440" bIns="45720" rtlCol="0" anchor="t">
            <a:spAutoFit/>
          </a:bodyPr>
          <a:lstStyle/>
          <a:p>
            <a:pPr>
              <a:lnSpc>
                <a:spcPct val="107000"/>
              </a:lnSpc>
              <a:spcAft>
                <a:spcPts val="800"/>
              </a:spcAft>
            </a:pPr>
            <a:r>
              <a:rPr lang="nb-NO" sz="1050" b="1" kern="100" dirty="0">
                <a:ea typeface="Calibri"/>
                <a:cs typeface="Arial"/>
              </a:rPr>
              <a:t>Nettoeksport fra Norge på alle mellomlandsforbindelser</a:t>
            </a:r>
          </a:p>
          <a:p>
            <a:pPr marL="171450" indent="-171450">
              <a:lnSpc>
                <a:spcPct val="107000"/>
              </a:lnSpc>
              <a:spcAft>
                <a:spcPts val="800"/>
              </a:spcAft>
              <a:buFont typeface="Arial" panose="020B0604020202020204" pitchFamily="34" charset="0"/>
              <a:buChar char="•"/>
            </a:pPr>
            <a:r>
              <a:rPr lang="nb-NO" sz="1050" kern="100" dirty="0">
                <a:ea typeface="Calibri"/>
                <a:cs typeface="Arial"/>
              </a:rPr>
              <a:t>Norge hadde i februar nettoeksport til alle landene vi har mellomlandsforbindelser til. Dette er første gang det har skjedd siden august 2023. Totalt eksporterte Norge 3 </a:t>
            </a:r>
            <a:r>
              <a:rPr lang="nb-NO" sz="1050" kern="100" dirty="0" err="1">
                <a:ea typeface="Calibri"/>
                <a:cs typeface="Arial"/>
              </a:rPr>
              <a:t>TWh</a:t>
            </a:r>
            <a:r>
              <a:rPr lang="nb-NO" sz="1050" kern="100" dirty="0">
                <a:ea typeface="Calibri"/>
                <a:cs typeface="Arial"/>
              </a:rPr>
              <a:t> strøm mer enn vi importerte i februar. </a:t>
            </a:r>
          </a:p>
          <a:p>
            <a:pPr marL="171450" indent="-171450">
              <a:lnSpc>
                <a:spcPct val="107000"/>
              </a:lnSpc>
              <a:spcAft>
                <a:spcPts val="800"/>
              </a:spcAft>
              <a:buFont typeface="Arial" panose="020B0604020202020204" pitchFamily="34" charset="0"/>
              <a:buChar char="•"/>
            </a:pPr>
            <a:r>
              <a:rPr lang="nb-NO" sz="1050" kern="100" dirty="0">
                <a:ea typeface="Calibri"/>
                <a:cs typeface="Arial"/>
              </a:rPr>
              <a:t>Årsaken til den høye eksporten er at vi for tiden har et stort kraftoverskudd i Norge, grunnet mye vann i magasinene og høy vannkraftproduksjon. I tillegg var det lav vindkraftproduksjon i Europa i februar, slik at det var få perioder der Norge kunne importere billig vindkraft. I de fleste måneder er kraftimporten fra Europa til Norge høyere enn den var i februar, pga. perioder med mye sol- eller vindkraftproduksjon.</a:t>
            </a:r>
          </a:p>
          <a:p>
            <a:pPr marL="171450" indent="-171450">
              <a:lnSpc>
                <a:spcPct val="107000"/>
              </a:lnSpc>
              <a:spcAft>
                <a:spcPts val="800"/>
              </a:spcAft>
              <a:buFont typeface="Arial" panose="020B0604020202020204" pitchFamily="34" charset="0"/>
              <a:buChar char="•"/>
            </a:pPr>
            <a:r>
              <a:rPr lang="nb-NO" sz="1050" kern="100" dirty="0">
                <a:ea typeface="Calibri"/>
                <a:cs typeface="Arial"/>
              </a:rPr>
              <a:t>De norske og svenske kraftsystemene er svært integrerte. Det er mye eksport og import langs grensen mellom disse to landene. Årsaken til at Norge hadde nettoeksport til Sverige i februar var den svært gode hydrologiske situasjonen i Nord-Norge.</a:t>
            </a:r>
          </a:p>
        </p:txBody>
      </p:sp>
      <p:sp>
        <p:nvSpPr>
          <p:cNvPr id="2" name="TekstSylinder 1">
            <a:extLst>
              <a:ext uri="{FF2B5EF4-FFF2-40B4-BE49-F238E27FC236}">
                <a16:creationId xmlns:a16="http://schemas.microsoft.com/office/drawing/2014/main" id="{E225F7EA-99E6-543D-3D1D-6EACC2C8D6E1}"/>
              </a:ext>
            </a:extLst>
          </p:cNvPr>
          <p:cNvSpPr txBox="1"/>
          <p:nvPr/>
        </p:nvSpPr>
        <p:spPr>
          <a:xfrm>
            <a:off x="4471460" y="897875"/>
            <a:ext cx="4000459" cy="3557192"/>
          </a:xfrm>
          <a:prstGeom prst="rect">
            <a:avLst/>
          </a:prstGeom>
          <a:noFill/>
          <a:ln>
            <a:noFill/>
          </a:ln>
        </p:spPr>
        <p:txBody>
          <a:bodyPr wrap="square" lIns="91440" tIns="45720" rIns="91440" bIns="45720" rtlCol="0" anchor="t">
            <a:spAutoFit/>
          </a:bodyPr>
          <a:lstStyle/>
          <a:p>
            <a:pPr>
              <a:lnSpc>
                <a:spcPct val="107000"/>
              </a:lnSpc>
              <a:spcAft>
                <a:spcPts val="800"/>
              </a:spcAft>
            </a:pPr>
            <a:r>
              <a:rPr lang="nb-NO" sz="1000" b="1" kern="100" dirty="0">
                <a:ea typeface="Calibri"/>
                <a:cs typeface="Arial"/>
              </a:rPr>
              <a:t>Økte strømpriser i Sør-Norge og Europa</a:t>
            </a:r>
          </a:p>
          <a:p>
            <a:pPr marL="171450" indent="-171450">
              <a:lnSpc>
                <a:spcPct val="107000"/>
              </a:lnSpc>
              <a:spcAft>
                <a:spcPts val="800"/>
              </a:spcAft>
              <a:buFont typeface="Arial" panose="020B0604020202020204" pitchFamily="34" charset="0"/>
              <a:buChar char="•"/>
            </a:pPr>
            <a:r>
              <a:rPr lang="nb-NO" sz="1000" kern="100" dirty="0">
                <a:ea typeface="Calibri"/>
                <a:cs typeface="Arial"/>
              </a:rPr>
              <a:t>Snittprisene for februar i de sørnorske prisområdene NO1 og NO2 var de høyeste siden november 2023, mens prisene i NO5 var de høyeste siden januar 2024.</a:t>
            </a:r>
          </a:p>
          <a:p>
            <a:pPr marL="171450" indent="-171450">
              <a:lnSpc>
                <a:spcPct val="107000"/>
              </a:lnSpc>
              <a:spcAft>
                <a:spcPts val="800"/>
              </a:spcAft>
              <a:buFont typeface="Arial" panose="020B0604020202020204" pitchFamily="34" charset="0"/>
              <a:buChar char="•"/>
            </a:pPr>
            <a:r>
              <a:rPr lang="nb-NO" sz="1000" kern="100" dirty="0">
                <a:ea typeface="Calibri"/>
                <a:cs typeface="Arial"/>
              </a:rPr>
              <a:t>Strømprisene i Tyskland, Nederland og Danmark ble også svært høye i februar. Februar-prisen i Tyskland, på 128 €/</a:t>
            </a:r>
            <a:r>
              <a:rPr lang="nb-NO" sz="1000" kern="100" dirty="0" err="1">
                <a:ea typeface="Calibri"/>
                <a:cs typeface="Arial"/>
              </a:rPr>
              <a:t>MWh</a:t>
            </a:r>
            <a:r>
              <a:rPr lang="nb-NO" sz="1000" kern="100" dirty="0">
                <a:ea typeface="Calibri"/>
                <a:cs typeface="Arial"/>
              </a:rPr>
              <a:t>, er den høyeste siden desember 2022. Den danske prisen på 112 €/</a:t>
            </a:r>
            <a:r>
              <a:rPr lang="nb-NO" sz="1000" kern="100" dirty="0" err="1">
                <a:ea typeface="Calibri"/>
                <a:cs typeface="Arial"/>
              </a:rPr>
              <a:t>MWh</a:t>
            </a:r>
            <a:r>
              <a:rPr lang="nb-NO" sz="1000" kern="100" dirty="0">
                <a:ea typeface="Calibri"/>
                <a:cs typeface="Arial"/>
              </a:rPr>
              <a:t> er den høyeste siden februar 2023.</a:t>
            </a:r>
          </a:p>
          <a:p>
            <a:pPr marL="171450" indent="-171450">
              <a:lnSpc>
                <a:spcPct val="107000"/>
              </a:lnSpc>
              <a:spcAft>
                <a:spcPts val="800"/>
              </a:spcAft>
              <a:buFont typeface="Arial" panose="020B0604020202020204" pitchFamily="34" charset="0"/>
              <a:buChar char="•"/>
            </a:pPr>
            <a:r>
              <a:rPr lang="nb-NO" sz="1000" kern="100" dirty="0">
                <a:ea typeface="Calibri"/>
                <a:cs typeface="Arial"/>
              </a:rPr>
              <a:t>Årsaken til de svært høye prisene er svært lav vindkraftproduksjon og økte gasspriser.</a:t>
            </a:r>
          </a:p>
          <a:p>
            <a:pPr marL="171450" indent="-171450">
              <a:lnSpc>
                <a:spcPct val="107000"/>
              </a:lnSpc>
              <a:spcAft>
                <a:spcPts val="800"/>
              </a:spcAft>
              <a:buFont typeface="Arial" panose="020B0604020202020204" pitchFamily="34" charset="0"/>
              <a:buChar char="•"/>
            </a:pPr>
            <a:r>
              <a:rPr lang="nb-NO" sz="1000" kern="100" dirty="0">
                <a:ea typeface="Calibri"/>
                <a:cs typeface="Arial"/>
              </a:rPr>
              <a:t>Februar var en svært svak vindkraftmåned. Vindkraftproduksjonen i Tyskland var bare halvparten av i januar 2025 og februar 2024.</a:t>
            </a:r>
          </a:p>
          <a:p>
            <a:pPr marL="171450" indent="-171450">
              <a:lnSpc>
                <a:spcPct val="107000"/>
              </a:lnSpc>
              <a:spcAft>
                <a:spcPts val="800"/>
              </a:spcAft>
              <a:buFont typeface="Arial" panose="020B0604020202020204" pitchFamily="34" charset="0"/>
              <a:buChar char="•"/>
            </a:pPr>
            <a:r>
              <a:rPr lang="nb-NO" sz="1000" kern="100" dirty="0">
                <a:ea typeface="Calibri"/>
                <a:cs typeface="Arial"/>
              </a:rPr>
              <a:t>I tillegg har gassprisen økt, som en følge av at nivået på europeiske gasslagre har falt. Prisen toppet seg 10. februar. Da var gassprisen på sitt høyeste nivå siden januar 2023. Muligheter for fred i Ukraina og normalisering av forholdet med Russland har imidlertid ført til at gassprisene har falt siden da. </a:t>
            </a:r>
          </a:p>
        </p:txBody>
      </p:sp>
    </p:spTree>
    <p:extLst>
      <p:ext uri="{BB962C8B-B14F-4D97-AF65-F5344CB8AC3E}">
        <p14:creationId xmlns:p14="http://schemas.microsoft.com/office/powerpoint/2010/main" val="38094287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2D50B9E-CD09-2192-6C3B-95534AAE4783}"/>
              </a:ext>
            </a:extLst>
          </p:cNvPr>
          <p:cNvGraphicFramePr>
            <a:graphicFrameLocks noChangeAspect="1"/>
          </p:cNvGraphicFramePr>
          <p:nvPr>
            <p:custDataLst>
              <p:tags r:id="rId1"/>
            </p:custDataLst>
            <p:extLst>
              <p:ext uri="{D42A27DB-BD31-4B8C-83A1-F6EECF244321}">
                <p14:modId xmlns:p14="http://schemas.microsoft.com/office/powerpoint/2010/main" val="4233886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13" name="think-cell data - do not delete" hidden="1">
                        <a:extLst>
                          <a:ext uri="{FF2B5EF4-FFF2-40B4-BE49-F238E27FC236}">
                            <a16:creationId xmlns:a16="http://schemas.microsoft.com/office/drawing/2014/main" id="{62D50B9E-CD09-2192-6C3B-95534AAE47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5213922F-444B-9587-AFC4-5C4C6A8D8FDB}"/>
              </a:ext>
            </a:extLst>
          </p:cNvPr>
          <p:cNvSpPr>
            <a:spLocks noGrp="1"/>
          </p:cNvSpPr>
          <p:nvPr>
            <p:ph type="title"/>
          </p:nvPr>
        </p:nvSpPr>
        <p:spPr>
          <a:xfrm>
            <a:off x="1940522" y="306645"/>
            <a:ext cx="6455939" cy="494406"/>
          </a:xfrm>
        </p:spPr>
        <p:txBody>
          <a:bodyPr vert="horz"/>
          <a:lstStyle/>
          <a:p>
            <a:r>
              <a:rPr lang="nb-NO" sz="2000">
                <a:cs typeface="Arial"/>
              </a:rPr>
              <a:t>Vedlegg 1: Detaljert regning for januar 2025</a:t>
            </a:r>
            <a:endParaRPr lang="nb-NO" sz="2000"/>
          </a:p>
        </p:txBody>
      </p:sp>
      <p:sp>
        <p:nvSpPr>
          <p:cNvPr id="7" name="Plassholder for dato 6">
            <a:extLst>
              <a:ext uri="{FF2B5EF4-FFF2-40B4-BE49-F238E27FC236}">
                <a16:creationId xmlns:a16="http://schemas.microsoft.com/office/drawing/2014/main" id="{B2C698D7-E915-EED2-0D1D-8D9A15B54C43}"/>
              </a:ext>
            </a:extLst>
          </p:cNvPr>
          <p:cNvSpPr>
            <a:spLocks noGrp="1"/>
          </p:cNvSpPr>
          <p:nvPr>
            <p:ph type="dt" sz="half" idx="10"/>
          </p:nvPr>
        </p:nvSpPr>
        <p:spPr/>
        <p:txBody>
          <a:bodyPr/>
          <a:lstStyle/>
          <a:p>
            <a:r>
              <a:rPr lang="nb-NO"/>
              <a:t>Oslo, dd.mm.yyyy</a:t>
            </a:r>
          </a:p>
        </p:txBody>
      </p:sp>
      <p:sp>
        <p:nvSpPr>
          <p:cNvPr id="8" name="Plassholder for lysbildenummer 7">
            <a:extLst>
              <a:ext uri="{FF2B5EF4-FFF2-40B4-BE49-F238E27FC236}">
                <a16:creationId xmlns:a16="http://schemas.microsoft.com/office/drawing/2014/main" id="{9D0095D8-72B6-43FF-9307-B3808DE88403}"/>
              </a:ext>
            </a:extLst>
          </p:cNvPr>
          <p:cNvSpPr>
            <a:spLocks noGrp="1"/>
          </p:cNvSpPr>
          <p:nvPr>
            <p:ph type="sldNum" sz="quarter" idx="12"/>
          </p:nvPr>
        </p:nvSpPr>
        <p:spPr/>
        <p:txBody>
          <a:bodyPr/>
          <a:lstStyle/>
          <a:p>
            <a:fld id="{20EE8A8A-9F66-4500-8547-91D11C77B4B7}" type="slidenum">
              <a:rPr lang="nb-NO" smtClean="0"/>
              <a:pPr/>
              <a:t>6</a:t>
            </a:fld>
            <a:endParaRPr lang="nb-NO"/>
          </a:p>
        </p:txBody>
      </p:sp>
      <p:sp>
        <p:nvSpPr>
          <p:cNvPr id="11" name="Speech Bubble: Rectangle 10">
            <a:extLst>
              <a:ext uri="{FF2B5EF4-FFF2-40B4-BE49-F238E27FC236}">
                <a16:creationId xmlns:a16="http://schemas.microsoft.com/office/drawing/2014/main" id="{08E89037-2C15-7BA4-E420-580B2668841D}"/>
              </a:ext>
            </a:extLst>
          </p:cNvPr>
          <p:cNvSpPr/>
          <p:nvPr/>
        </p:nvSpPr>
        <p:spPr>
          <a:xfrm>
            <a:off x="7249362" y="1260314"/>
            <a:ext cx="1566518" cy="619951"/>
          </a:xfrm>
          <a:prstGeom prst="wedgeRectCallout">
            <a:avLst>
              <a:gd name="adj1" fmla="val -69506"/>
              <a:gd name="adj2" fmla="val 38095"/>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b-NO" sz="800">
                <a:cs typeface="Arial"/>
              </a:rPr>
              <a:t>Dette er hva kraftprodusentene får betalt for strømmen</a:t>
            </a:r>
          </a:p>
        </p:txBody>
      </p:sp>
      <p:sp>
        <p:nvSpPr>
          <p:cNvPr id="3" name="Snakkeboble: rektangel 2">
            <a:extLst>
              <a:ext uri="{FF2B5EF4-FFF2-40B4-BE49-F238E27FC236}">
                <a16:creationId xmlns:a16="http://schemas.microsoft.com/office/drawing/2014/main" id="{127DA9E0-2CEF-FE7D-6AE9-33C8E0D6BC4E}"/>
              </a:ext>
            </a:extLst>
          </p:cNvPr>
          <p:cNvSpPr/>
          <p:nvPr/>
        </p:nvSpPr>
        <p:spPr>
          <a:xfrm>
            <a:off x="7249362" y="2092659"/>
            <a:ext cx="1631164" cy="338904"/>
          </a:xfrm>
          <a:prstGeom prst="wedgeRectCallout">
            <a:avLst>
              <a:gd name="adj1" fmla="val -69102"/>
              <a:gd name="adj2" fmla="val 1258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800"/>
              <a:t>Dette er strømleverandørens påslag på strømregningen</a:t>
            </a:r>
          </a:p>
        </p:txBody>
      </p:sp>
      <p:sp>
        <p:nvSpPr>
          <p:cNvPr id="4" name="Speech Bubble: Rectangle 10">
            <a:extLst>
              <a:ext uri="{FF2B5EF4-FFF2-40B4-BE49-F238E27FC236}">
                <a16:creationId xmlns:a16="http://schemas.microsoft.com/office/drawing/2014/main" id="{113A1B97-60AB-A82D-7695-603B4FDE308B}"/>
              </a:ext>
            </a:extLst>
          </p:cNvPr>
          <p:cNvSpPr/>
          <p:nvPr/>
        </p:nvSpPr>
        <p:spPr>
          <a:xfrm>
            <a:off x="7249362" y="3457670"/>
            <a:ext cx="1566518" cy="529670"/>
          </a:xfrm>
          <a:prstGeom prst="wedgeRectCallout">
            <a:avLst>
              <a:gd name="adj1" fmla="val -70888"/>
              <a:gd name="adj2" fmla="val -28789"/>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b-NO" sz="800">
                <a:cs typeface="Arial"/>
              </a:rPr>
              <a:t>Finnmark og deler av Troms har fritak for el-avgift</a:t>
            </a:r>
            <a:endParaRPr lang="nb-NO" sz="800"/>
          </a:p>
        </p:txBody>
      </p:sp>
      <p:sp>
        <p:nvSpPr>
          <p:cNvPr id="6" name="Speech Bubble: Rectangle 10">
            <a:extLst>
              <a:ext uri="{FF2B5EF4-FFF2-40B4-BE49-F238E27FC236}">
                <a16:creationId xmlns:a16="http://schemas.microsoft.com/office/drawing/2014/main" id="{43281BD6-61B8-4DBB-3558-178E91D04924}"/>
              </a:ext>
            </a:extLst>
          </p:cNvPr>
          <p:cNvSpPr/>
          <p:nvPr/>
        </p:nvSpPr>
        <p:spPr>
          <a:xfrm>
            <a:off x="7238094" y="2555875"/>
            <a:ext cx="1566518" cy="529670"/>
          </a:xfrm>
          <a:prstGeom prst="wedgeRectCallout">
            <a:avLst>
              <a:gd name="adj1" fmla="val -72477"/>
              <a:gd name="adj2" fmla="val -13688"/>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800">
                <a:cs typeface="Arial"/>
              </a:rPr>
              <a:t>Dette går til nettselskapet for å bygge, drifte og vedlikeholde strømnettet</a:t>
            </a:r>
            <a:endParaRPr lang="nb-NO" sz="800"/>
          </a:p>
        </p:txBody>
      </p:sp>
      <p:sp>
        <p:nvSpPr>
          <p:cNvPr id="27" name="Snakkeboble: rektangel 26">
            <a:extLst>
              <a:ext uri="{FF2B5EF4-FFF2-40B4-BE49-F238E27FC236}">
                <a16:creationId xmlns:a16="http://schemas.microsoft.com/office/drawing/2014/main" id="{1D503F1E-631A-06BB-9FA6-AB5D4E68E9D8}"/>
              </a:ext>
            </a:extLst>
          </p:cNvPr>
          <p:cNvSpPr/>
          <p:nvPr/>
        </p:nvSpPr>
        <p:spPr>
          <a:xfrm>
            <a:off x="7249362" y="4017182"/>
            <a:ext cx="1631164" cy="338904"/>
          </a:xfrm>
          <a:prstGeom prst="wedgeRectCallout">
            <a:avLst>
              <a:gd name="adj1" fmla="val -68640"/>
              <a:gd name="adj2" fmla="val -64298"/>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800"/>
              <a:t>Nord-Norge har fritak for MVA på strøm</a:t>
            </a:r>
          </a:p>
        </p:txBody>
      </p:sp>
      <p:sp>
        <p:nvSpPr>
          <p:cNvPr id="9" name="TekstSylinder 8">
            <a:extLst>
              <a:ext uri="{FF2B5EF4-FFF2-40B4-BE49-F238E27FC236}">
                <a16:creationId xmlns:a16="http://schemas.microsoft.com/office/drawing/2014/main" id="{900DDBDD-1832-6A0C-F937-3CBEE583917D}"/>
              </a:ext>
            </a:extLst>
          </p:cNvPr>
          <p:cNvSpPr txBox="1"/>
          <p:nvPr/>
        </p:nvSpPr>
        <p:spPr>
          <a:xfrm>
            <a:off x="774239" y="4743576"/>
            <a:ext cx="3971299" cy="261610"/>
          </a:xfrm>
          <a:prstGeom prst="rect">
            <a:avLst/>
          </a:prstGeom>
          <a:noFill/>
        </p:spPr>
        <p:txBody>
          <a:bodyPr wrap="square" rtlCol="0">
            <a:spAutoFit/>
          </a:bodyPr>
          <a:lstStyle/>
          <a:p>
            <a:r>
              <a:rPr lang="nb-NO" sz="1100" i="1"/>
              <a:t>Tall er norske kroner der ikke annet er oppgitt</a:t>
            </a:r>
          </a:p>
        </p:txBody>
      </p:sp>
      <p:graphicFrame>
        <p:nvGraphicFramePr>
          <p:cNvPr id="5" name="Tabell 4">
            <a:extLst>
              <a:ext uri="{FF2B5EF4-FFF2-40B4-BE49-F238E27FC236}">
                <a16:creationId xmlns:a16="http://schemas.microsoft.com/office/drawing/2014/main" id="{7A7270EF-E557-E6D9-AF2C-E9365D8035FC}"/>
              </a:ext>
            </a:extLst>
          </p:cNvPr>
          <p:cNvGraphicFramePr>
            <a:graphicFrameLocks noGrp="1"/>
          </p:cNvGraphicFramePr>
          <p:nvPr>
            <p:extLst>
              <p:ext uri="{D42A27DB-BD31-4B8C-83A1-F6EECF244321}">
                <p14:modId xmlns:p14="http://schemas.microsoft.com/office/powerpoint/2010/main" val="126199586"/>
              </p:ext>
            </p:extLst>
          </p:nvPr>
        </p:nvGraphicFramePr>
        <p:xfrm>
          <a:off x="533213" y="1260313"/>
          <a:ext cx="6365129" cy="3259650"/>
        </p:xfrm>
        <a:graphic>
          <a:graphicData uri="http://schemas.openxmlformats.org/drawingml/2006/table">
            <a:tbl>
              <a:tblPr>
                <a:tableStyleId>{125E5076-3810-47DD-B79F-674D7AD40C01}</a:tableStyleId>
              </a:tblPr>
              <a:tblGrid>
                <a:gridCol w="1760319">
                  <a:extLst>
                    <a:ext uri="{9D8B030D-6E8A-4147-A177-3AD203B41FA5}">
                      <a16:colId xmlns:a16="http://schemas.microsoft.com/office/drawing/2014/main" val="3329003826"/>
                    </a:ext>
                  </a:extLst>
                </a:gridCol>
                <a:gridCol w="920962">
                  <a:extLst>
                    <a:ext uri="{9D8B030D-6E8A-4147-A177-3AD203B41FA5}">
                      <a16:colId xmlns:a16="http://schemas.microsoft.com/office/drawing/2014/main" val="1965550729"/>
                    </a:ext>
                  </a:extLst>
                </a:gridCol>
                <a:gridCol w="920962">
                  <a:extLst>
                    <a:ext uri="{9D8B030D-6E8A-4147-A177-3AD203B41FA5}">
                      <a16:colId xmlns:a16="http://schemas.microsoft.com/office/drawing/2014/main" val="2645779019"/>
                    </a:ext>
                  </a:extLst>
                </a:gridCol>
                <a:gridCol w="920962">
                  <a:extLst>
                    <a:ext uri="{9D8B030D-6E8A-4147-A177-3AD203B41FA5}">
                      <a16:colId xmlns:a16="http://schemas.microsoft.com/office/drawing/2014/main" val="1366268548"/>
                    </a:ext>
                  </a:extLst>
                </a:gridCol>
                <a:gridCol w="920962">
                  <a:extLst>
                    <a:ext uri="{9D8B030D-6E8A-4147-A177-3AD203B41FA5}">
                      <a16:colId xmlns:a16="http://schemas.microsoft.com/office/drawing/2014/main" val="804805976"/>
                    </a:ext>
                  </a:extLst>
                </a:gridCol>
                <a:gridCol w="920962">
                  <a:extLst>
                    <a:ext uri="{9D8B030D-6E8A-4147-A177-3AD203B41FA5}">
                      <a16:colId xmlns:a16="http://schemas.microsoft.com/office/drawing/2014/main" val="1584921922"/>
                    </a:ext>
                  </a:extLst>
                </a:gridCol>
              </a:tblGrid>
              <a:tr h="217310">
                <a:tc>
                  <a:txBody>
                    <a:bodyPr/>
                    <a:lstStyle/>
                    <a:p>
                      <a:pPr algn="l" fontAlgn="b"/>
                      <a:r>
                        <a:rPr lang="nb-NO" sz="800" b="1" u="none" strike="noStrike">
                          <a:effectLst/>
                        </a:rPr>
                        <a:t>Prisområde</a:t>
                      </a:r>
                      <a:endParaRPr lang="nb-NO" sz="800" b="1" i="0" u="none" strike="noStrike">
                        <a:solidFill>
                          <a:srgbClr val="FFFFFF"/>
                        </a:solidFill>
                        <a:effectLst/>
                        <a:latin typeface="Calibri" panose="020F0502020204030204" pitchFamily="34" charset="0"/>
                      </a:endParaRPr>
                    </a:p>
                  </a:txBody>
                  <a:tcPr marL="7160" marR="7160" marT="7160" marB="0" anchor="b"/>
                </a:tc>
                <a:tc>
                  <a:txBody>
                    <a:bodyPr/>
                    <a:lstStyle/>
                    <a:p>
                      <a:pPr algn="l" fontAlgn="b"/>
                      <a:r>
                        <a:rPr lang="nb-NO" sz="800" b="1" u="none" strike="noStrike">
                          <a:effectLst/>
                        </a:rPr>
                        <a:t>NO1</a:t>
                      </a:r>
                      <a:endParaRPr lang="nb-NO" sz="800" b="1" i="0" u="none" strike="noStrike">
                        <a:solidFill>
                          <a:srgbClr val="FFFFFF"/>
                        </a:solidFill>
                        <a:effectLst/>
                        <a:latin typeface="Calibri" panose="020F0502020204030204" pitchFamily="34" charset="0"/>
                      </a:endParaRPr>
                    </a:p>
                  </a:txBody>
                  <a:tcPr marL="7160" marR="7160" marT="7160" marB="0" anchor="b"/>
                </a:tc>
                <a:tc>
                  <a:txBody>
                    <a:bodyPr/>
                    <a:lstStyle/>
                    <a:p>
                      <a:pPr algn="l" fontAlgn="b"/>
                      <a:r>
                        <a:rPr lang="nb-NO" sz="800" b="1" u="none" strike="noStrike">
                          <a:effectLst/>
                        </a:rPr>
                        <a:t>NO2 </a:t>
                      </a:r>
                      <a:endParaRPr lang="nb-NO" sz="800" b="1" i="0" u="none" strike="noStrike">
                        <a:solidFill>
                          <a:srgbClr val="FFFFFF"/>
                        </a:solidFill>
                        <a:effectLst/>
                        <a:latin typeface="Calibri" panose="020F0502020204030204" pitchFamily="34" charset="0"/>
                      </a:endParaRPr>
                    </a:p>
                  </a:txBody>
                  <a:tcPr marL="7160" marR="7160" marT="7160" marB="0" anchor="b"/>
                </a:tc>
                <a:tc>
                  <a:txBody>
                    <a:bodyPr/>
                    <a:lstStyle/>
                    <a:p>
                      <a:pPr algn="l" fontAlgn="b"/>
                      <a:r>
                        <a:rPr lang="nb-NO" sz="800" b="1" u="none" strike="noStrike">
                          <a:effectLst/>
                        </a:rPr>
                        <a:t>NO3</a:t>
                      </a:r>
                      <a:endParaRPr lang="nb-NO" sz="800" b="1" i="0" u="none" strike="noStrike">
                        <a:solidFill>
                          <a:srgbClr val="FFFFFF"/>
                        </a:solidFill>
                        <a:effectLst/>
                        <a:latin typeface="Calibri" panose="020F0502020204030204" pitchFamily="34" charset="0"/>
                      </a:endParaRPr>
                    </a:p>
                  </a:txBody>
                  <a:tcPr marL="7160" marR="7160" marT="7160" marB="0" anchor="b"/>
                </a:tc>
                <a:tc>
                  <a:txBody>
                    <a:bodyPr/>
                    <a:lstStyle/>
                    <a:p>
                      <a:pPr algn="l" fontAlgn="b"/>
                      <a:r>
                        <a:rPr lang="nb-NO" sz="800" b="1" u="none" strike="noStrike">
                          <a:effectLst/>
                        </a:rPr>
                        <a:t>NO4 </a:t>
                      </a:r>
                      <a:endParaRPr lang="nb-NO" sz="800" b="1" i="0" u="none" strike="noStrike">
                        <a:solidFill>
                          <a:srgbClr val="FFFFFF"/>
                        </a:solidFill>
                        <a:effectLst/>
                        <a:latin typeface="Calibri" panose="020F0502020204030204" pitchFamily="34" charset="0"/>
                      </a:endParaRPr>
                    </a:p>
                  </a:txBody>
                  <a:tcPr marL="7160" marR="7160" marT="7160" marB="0" anchor="b"/>
                </a:tc>
                <a:tc>
                  <a:txBody>
                    <a:bodyPr/>
                    <a:lstStyle/>
                    <a:p>
                      <a:pPr algn="l" fontAlgn="b"/>
                      <a:r>
                        <a:rPr lang="nb-NO" sz="800" b="1" u="none" strike="noStrike">
                          <a:effectLst/>
                        </a:rPr>
                        <a:t>NO5</a:t>
                      </a:r>
                      <a:endParaRPr lang="nb-NO" sz="800" b="1" i="0" u="none" strike="noStrike">
                        <a:solidFill>
                          <a:srgbClr val="FFFFFF"/>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1597175027"/>
                  </a:ext>
                </a:extLst>
              </a:tr>
              <a:tr h="217310">
                <a:tc>
                  <a:txBody>
                    <a:bodyPr/>
                    <a:lstStyle/>
                    <a:p>
                      <a:pPr algn="l" fontAlgn="b"/>
                      <a:r>
                        <a:rPr lang="nb-NO" sz="800" u="none" strike="noStrike">
                          <a:effectLst/>
                        </a:rPr>
                        <a:t>Gjennomsnittlig forbruk (KWh)</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596</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552</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537</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867</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487</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761525999"/>
                  </a:ext>
                </a:extLst>
              </a:tr>
              <a:tr h="217310">
                <a:tc>
                  <a:txBody>
                    <a:bodyPr/>
                    <a:lstStyle/>
                    <a:p>
                      <a:pPr algn="l" fontAlgn="b"/>
                      <a:r>
                        <a:rPr lang="nb-NO" sz="800" b="1" u="none" strike="noStrike">
                          <a:effectLst/>
                        </a:rPr>
                        <a:t>Strømregning</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1719</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1725</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670</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292</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1422</a:t>
                      </a:r>
                      <a:endParaRPr lang="nb-NO" sz="800" b="1"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1417979640"/>
                  </a:ext>
                </a:extLst>
              </a:tr>
              <a:tr h="217310">
                <a:tc>
                  <a:txBody>
                    <a:bodyPr/>
                    <a:lstStyle/>
                    <a:p>
                      <a:pPr algn="l" fontAlgn="b"/>
                      <a:r>
                        <a:rPr lang="nb-NO" sz="800" u="none" strike="noStrike">
                          <a:effectLst/>
                        </a:rPr>
                        <a:t>Spotpris</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599</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607</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553</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58</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307</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920566177"/>
                  </a:ext>
                </a:extLst>
              </a:tr>
              <a:tr h="217310">
                <a:tc>
                  <a:txBody>
                    <a:bodyPr/>
                    <a:lstStyle/>
                    <a:p>
                      <a:pPr algn="l" fontAlgn="b"/>
                      <a:r>
                        <a:rPr lang="nb-NO" sz="800" u="none" strike="noStrike">
                          <a:effectLst/>
                        </a:rPr>
                        <a:t>Fastpris</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40</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40</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40</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40</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40</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2896484002"/>
                  </a:ext>
                </a:extLst>
              </a:tr>
              <a:tr h="217310">
                <a:tc>
                  <a:txBody>
                    <a:bodyPr/>
                    <a:lstStyle/>
                    <a:p>
                      <a:pPr algn="l" fontAlgn="b"/>
                      <a:r>
                        <a:rPr lang="nb-NO" sz="800" u="none" strike="noStrike">
                          <a:effectLst/>
                        </a:rPr>
                        <a:t>Påslag</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80</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78</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77</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93</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74</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3909745672"/>
                  </a:ext>
                </a:extLst>
              </a:tr>
              <a:tr h="217310">
                <a:tc>
                  <a:txBody>
                    <a:bodyPr/>
                    <a:lstStyle/>
                    <a:p>
                      <a:pPr algn="l" fontAlgn="b"/>
                      <a:r>
                        <a:rPr lang="nb-NO" sz="800" b="1" u="none" strike="noStrike">
                          <a:effectLst/>
                        </a:rPr>
                        <a:t>Nettleie</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501</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595</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548</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536</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605</a:t>
                      </a:r>
                      <a:endParaRPr lang="nb-NO" sz="800" b="1"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1816080450"/>
                  </a:ext>
                </a:extLst>
              </a:tr>
              <a:tr h="217310">
                <a:tc>
                  <a:txBody>
                    <a:bodyPr/>
                    <a:lstStyle/>
                    <a:p>
                      <a:pPr algn="l" fontAlgn="b"/>
                      <a:r>
                        <a:rPr lang="nb-NO" sz="800" u="none" strike="noStrike">
                          <a:effectLst/>
                        </a:rPr>
                        <a:t>Energiledd</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329</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383</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323</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74</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397</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2200169002"/>
                  </a:ext>
                </a:extLst>
              </a:tr>
              <a:tr h="217310">
                <a:tc>
                  <a:txBody>
                    <a:bodyPr/>
                    <a:lstStyle/>
                    <a:p>
                      <a:pPr algn="l" fontAlgn="b"/>
                      <a:r>
                        <a:rPr lang="nb-NO" sz="800" u="none" strike="noStrike">
                          <a:effectLst/>
                        </a:rPr>
                        <a:t>Kapasitetsledd</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72</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11</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25</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63</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08</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1879830885"/>
                  </a:ext>
                </a:extLst>
              </a:tr>
              <a:tr h="217310">
                <a:tc>
                  <a:txBody>
                    <a:bodyPr/>
                    <a:lstStyle/>
                    <a:p>
                      <a:pPr algn="l" fontAlgn="b"/>
                      <a:r>
                        <a:rPr lang="nb-NO" sz="800" b="1" u="none" strike="noStrike">
                          <a:effectLst/>
                        </a:rPr>
                        <a:t>Avgifter</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770</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789</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512</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202</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707</a:t>
                      </a:r>
                      <a:endParaRPr lang="nb-NO" sz="800" b="1"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1354993718"/>
                  </a:ext>
                </a:extLst>
              </a:tr>
              <a:tr h="217310">
                <a:tc>
                  <a:txBody>
                    <a:bodyPr/>
                    <a:lstStyle/>
                    <a:p>
                      <a:pPr algn="l" fontAlgn="b"/>
                      <a:r>
                        <a:rPr lang="nb-NO" sz="800" u="none" strike="noStrike">
                          <a:effectLst/>
                        </a:rPr>
                        <a:t>el-avgift</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56</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52</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50</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83</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46</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596044222"/>
                  </a:ext>
                </a:extLst>
              </a:tr>
              <a:tr h="217310">
                <a:tc>
                  <a:txBody>
                    <a:bodyPr/>
                    <a:lstStyle/>
                    <a:p>
                      <a:pPr algn="l" fontAlgn="b"/>
                      <a:r>
                        <a:rPr lang="nb-NO" sz="800" u="none" strike="noStrike">
                          <a:effectLst/>
                        </a:rPr>
                        <a:t>ENOVA-avgift</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6</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6</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5</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9</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5</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1315747344"/>
                  </a:ext>
                </a:extLst>
              </a:tr>
              <a:tr h="217310">
                <a:tc>
                  <a:txBody>
                    <a:bodyPr/>
                    <a:lstStyle/>
                    <a:p>
                      <a:pPr algn="l" fontAlgn="b"/>
                      <a:r>
                        <a:rPr lang="nb-NO" sz="800" u="none" strike="noStrike">
                          <a:effectLst/>
                        </a:rPr>
                        <a:t>MVA</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598</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622</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346</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0</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547</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1418303805"/>
                  </a:ext>
                </a:extLst>
              </a:tr>
              <a:tr h="217310">
                <a:tc>
                  <a:txBody>
                    <a:bodyPr/>
                    <a:lstStyle/>
                    <a:p>
                      <a:pPr algn="l" fontAlgn="b"/>
                      <a:r>
                        <a:rPr lang="nb-NO" sz="800" b="1" u="none" strike="noStrike">
                          <a:effectLst/>
                        </a:rPr>
                        <a:t>Strømstøtte</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576</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609</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86</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1</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376</a:t>
                      </a:r>
                      <a:endParaRPr lang="nb-NO" sz="800" b="1"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3159357698"/>
                  </a:ext>
                </a:extLst>
              </a:tr>
              <a:tr h="217310">
                <a:tc>
                  <a:txBody>
                    <a:bodyPr/>
                    <a:lstStyle/>
                    <a:p>
                      <a:pPr algn="l" fontAlgn="b"/>
                      <a:r>
                        <a:rPr lang="nb-NO" sz="800" b="1" u="none" strike="noStrike">
                          <a:effectLst/>
                        </a:rPr>
                        <a:t>Totalt</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2414</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2499</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1645</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1029</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2358</a:t>
                      </a:r>
                      <a:endParaRPr lang="nb-NO" sz="800" b="1"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1366959224"/>
                  </a:ext>
                </a:extLst>
              </a:tr>
            </a:tbl>
          </a:graphicData>
        </a:graphic>
      </p:graphicFrame>
    </p:spTree>
    <p:extLst>
      <p:ext uri="{BB962C8B-B14F-4D97-AF65-F5344CB8AC3E}">
        <p14:creationId xmlns:p14="http://schemas.microsoft.com/office/powerpoint/2010/main" val="3625443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4156261-E1C9-2286-1892-F2CC3F37CA3E}"/>
              </a:ext>
            </a:extLst>
          </p:cNvPr>
          <p:cNvSpPr>
            <a:spLocks noGrp="1"/>
          </p:cNvSpPr>
          <p:nvPr>
            <p:ph type="title"/>
          </p:nvPr>
        </p:nvSpPr>
        <p:spPr/>
        <p:txBody>
          <a:bodyPr/>
          <a:lstStyle/>
          <a:p>
            <a:r>
              <a:rPr lang="nb-NO"/>
              <a:t>Vedlegg 2: Detaljerte sammenligninger</a:t>
            </a:r>
          </a:p>
        </p:txBody>
      </p:sp>
      <p:sp>
        <p:nvSpPr>
          <p:cNvPr id="4" name="Plassholder for dato 3">
            <a:extLst>
              <a:ext uri="{FF2B5EF4-FFF2-40B4-BE49-F238E27FC236}">
                <a16:creationId xmlns:a16="http://schemas.microsoft.com/office/drawing/2014/main" id="{C1C49259-E8DF-C4CD-6DCB-0BF59C94728C}"/>
              </a:ext>
            </a:extLst>
          </p:cNvPr>
          <p:cNvSpPr>
            <a:spLocks noGrp="1"/>
          </p:cNvSpPr>
          <p:nvPr>
            <p:ph type="dt" sz="half" idx="10"/>
          </p:nvPr>
        </p:nvSpPr>
        <p:spPr/>
        <p:txBody>
          <a:bodyPr/>
          <a:lstStyle/>
          <a:p>
            <a:r>
              <a:rPr lang="nb-NO"/>
              <a:t>Oslo, dd.mm.yyyy</a:t>
            </a:r>
          </a:p>
        </p:txBody>
      </p:sp>
      <p:sp>
        <p:nvSpPr>
          <p:cNvPr id="5" name="Plassholder for lysbildenummer 4">
            <a:extLst>
              <a:ext uri="{FF2B5EF4-FFF2-40B4-BE49-F238E27FC236}">
                <a16:creationId xmlns:a16="http://schemas.microsoft.com/office/drawing/2014/main" id="{4534897E-F465-C561-2DE7-E7BB40E3DCF0}"/>
              </a:ext>
            </a:extLst>
          </p:cNvPr>
          <p:cNvSpPr>
            <a:spLocks noGrp="1"/>
          </p:cNvSpPr>
          <p:nvPr>
            <p:ph type="sldNum" sz="quarter" idx="12"/>
          </p:nvPr>
        </p:nvSpPr>
        <p:spPr/>
        <p:txBody>
          <a:bodyPr/>
          <a:lstStyle/>
          <a:p>
            <a:fld id="{20EE8A8A-9F66-4500-8547-91D11C77B4B7}" type="slidenum">
              <a:rPr lang="nb-NO" smtClean="0"/>
              <a:pPr/>
              <a:t>7</a:t>
            </a:fld>
            <a:endParaRPr lang="nb-NO"/>
          </a:p>
        </p:txBody>
      </p:sp>
      <p:sp>
        <p:nvSpPr>
          <p:cNvPr id="11" name="TekstSylinder 10">
            <a:extLst>
              <a:ext uri="{FF2B5EF4-FFF2-40B4-BE49-F238E27FC236}">
                <a16:creationId xmlns:a16="http://schemas.microsoft.com/office/drawing/2014/main" id="{57A60D7B-702C-A706-64FD-CDEEDECD6266}"/>
              </a:ext>
            </a:extLst>
          </p:cNvPr>
          <p:cNvSpPr txBox="1"/>
          <p:nvPr/>
        </p:nvSpPr>
        <p:spPr>
          <a:xfrm>
            <a:off x="755121" y="4743107"/>
            <a:ext cx="8253046" cy="261610"/>
          </a:xfrm>
          <a:prstGeom prst="rect">
            <a:avLst/>
          </a:prstGeom>
          <a:noFill/>
        </p:spPr>
        <p:txBody>
          <a:bodyPr wrap="square" rtlCol="0">
            <a:spAutoFit/>
          </a:bodyPr>
          <a:lstStyle/>
          <a:p>
            <a:r>
              <a:rPr lang="nb-NO" sz="1100" i="1">
                <a:solidFill>
                  <a:schemeClr val="accent2">
                    <a:lumMod val="50000"/>
                  </a:schemeClr>
                </a:solidFill>
              </a:rPr>
              <a:t>Kun regningsposter som varierer fra måned til måned, tall er norske kroner der ikke annet er oppgitt</a:t>
            </a:r>
          </a:p>
        </p:txBody>
      </p:sp>
      <p:graphicFrame>
        <p:nvGraphicFramePr>
          <p:cNvPr id="6" name="Tabell 5">
            <a:extLst>
              <a:ext uri="{FF2B5EF4-FFF2-40B4-BE49-F238E27FC236}">
                <a16:creationId xmlns:a16="http://schemas.microsoft.com/office/drawing/2014/main" id="{5F8EC7D7-FE79-3271-7233-E8E4A9C9C7EE}"/>
              </a:ext>
            </a:extLst>
          </p:cNvPr>
          <p:cNvGraphicFramePr>
            <a:graphicFrameLocks noGrp="1"/>
          </p:cNvGraphicFramePr>
          <p:nvPr>
            <p:extLst>
              <p:ext uri="{D42A27DB-BD31-4B8C-83A1-F6EECF244321}">
                <p14:modId xmlns:p14="http://schemas.microsoft.com/office/powerpoint/2010/main" val="172273531"/>
              </p:ext>
            </p:extLst>
          </p:nvPr>
        </p:nvGraphicFramePr>
        <p:xfrm>
          <a:off x="303674" y="2318602"/>
          <a:ext cx="4352246" cy="2271125"/>
        </p:xfrm>
        <a:graphic>
          <a:graphicData uri="http://schemas.openxmlformats.org/drawingml/2006/table">
            <a:tbl>
              <a:tblPr>
                <a:tableStyleId>{125E5076-3810-47DD-B79F-674D7AD40C01}</a:tableStyleId>
              </a:tblPr>
              <a:tblGrid>
                <a:gridCol w="1214766">
                  <a:extLst>
                    <a:ext uri="{9D8B030D-6E8A-4147-A177-3AD203B41FA5}">
                      <a16:colId xmlns:a16="http://schemas.microsoft.com/office/drawing/2014/main" val="755919930"/>
                    </a:ext>
                  </a:extLst>
                </a:gridCol>
                <a:gridCol w="627496">
                  <a:extLst>
                    <a:ext uri="{9D8B030D-6E8A-4147-A177-3AD203B41FA5}">
                      <a16:colId xmlns:a16="http://schemas.microsoft.com/office/drawing/2014/main" val="1472222362"/>
                    </a:ext>
                  </a:extLst>
                </a:gridCol>
                <a:gridCol w="627496">
                  <a:extLst>
                    <a:ext uri="{9D8B030D-6E8A-4147-A177-3AD203B41FA5}">
                      <a16:colId xmlns:a16="http://schemas.microsoft.com/office/drawing/2014/main" val="3597153905"/>
                    </a:ext>
                  </a:extLst>
                </a:gridCol>
                <a:gridCol w="627496">
                  <a:extLst>
                    <a:ext uri="{9D8B030D-6E8A-4147-A177-3AD203B41FA5}">
                      <a16:colId xmlns:a16="http://schemas.microsoft.com/office/drawing/2014/main" val="1465039451"/>
                    </a:ext>
                  </a:extLst>
                </a:gridCol>
                <a:gridCol w="627496">
                  <a:extLst>
                    <a:ext uri="{9D8B030D-6E8A-4147-A177-3AD203B41FA5}">
                      <a16:colId xmlns:a16="http://schemas.microsoft.com/office/drawing/2014/main" val="969037805"/>
                    </a:ext>
                  </a:extLst>
                </a:gridCol>
                <a:gridCol w="627496">
                  <a:extLst>
                    <a:ext uri="{9D8B030D-6E8A-4147-A177-3AD203B41FA5}">
                      <a16:colId xmlns:a16="http://schemas.microsoft.com/office/drawing/2014/main" val="889540479"/>
                    </a:ext>
                  </a:extLst>
                </a:gridCol>
              </a:tblGrid>
              <a:tr h="240790">
                <a:tc>
                  <a:txBody>
                    <a:bodyPr/>
                    <a:lstStyle/>
                    <a:p>
                      <a:pPr algn="l" fontAlgn="b"/>
                      <a:r>
                        <a:rPr lang="nb-NO" sz="1100" b="1" u="none" strike="noStrike">
                          <a:effectLst/>
                        </a:rPr>
                        <a:t>Januar 2025</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100" b="1" u="none" strike="noStrike">
                          <a:effectLst/>
                        </a:rPr>
                        <a:t>NO1</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100" b="1" u="none" strike="noStrike">
                          <a:effectLst/>
                        </a:rPr>
                        <a:t>NO2</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100" b="1" u="none" strike="noStrike">
                          <a:effectLst/>
                        </a:rPr>
                        <a:t>NO3</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100" b="1" u="none" strike="noStrike">
                          <a:effectLst/>
                        </a:rPr>
                        <a:t>NO4</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100" b="1" u="none" strike="noStrike">
                          <a:effectLst/>
                        </a:rPr>
                        <a:t>NO5</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05749816"/>
                  </a:ext>
                </a:extLst>
              </a:tr>
              <a:tr h="342462">
                <a:tc>
                  <a:txBody>
                    <a:bodyPr/>
                    <a:lstStyle/>
                    <a:p>
                      <a:pPr algn="l" fontAlgn="b"/>
                      <a:r>
                        <a:rPr lang="nb-NO" sz="1100" u="none" strike="noStrike">
                          <a:effectLst/>
                        </a:rPr>
                        <a:t>Gjennomsnittlig forbruk (KWh)</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1828</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1780</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1815</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2418</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1738</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21830925"/>
                  </a:ext>
                </a:extLst>
              </a:tr>
              <a:tr h="240790">
                <a:tc>
                  <a:txBody>
                    <a:bodyPr/>
                    <a:lstStyle/>
                    <a:p>
                      <a:pPr algn="l" fontAlgn="b"/>
                      <a:r>
                        <a:rPr lang="nb-NO" sz="1100" b="1" u="none" strike="noStrike">
                          <a:effectLst/>
                        </a:rPr>
                        <a:t>Strømregning</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1523</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1538</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665</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444</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1234</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46049743"/>
                  </a:ext>
                </a:extLst>
              </a:tr>
              <a:tr h="240790">
                <a:tc>
                  <a:txBody>
                    <a:bodyPr/>
                    <a:lstStyle/>
                    <a:p>
                      <a:pPr algn="l" fontAlgn="b"/>
                      <a:r>
                        <a:rPr lang="nb-NO" sz="1100" b="0" i="0" u="none" strike="noStrike">
                          <a:solidFill>
                            <a:schemeClr val="tx1"/>
                          </a:solidFill>
                          <a:effectLst/>
                          <a:latin typeface="+mn-lt"/>
                        </a:rPr>
                        <a:t>Spotpris</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0" i="0" u="none" strike="noStrike">
                          <a:solidFill>
                            <a:schemeClr val="tx1"/>
                          </a:solidFill>
                          <a:effectLst/>
                          <a:latin typeface="+mn-lt"/>
                        </a:rPr>
                        <a:t>1391</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0" i="0" u="none" strike="noStrike">
                          <a:solidFill>
                            <a:schemeClr val="tx1"/>
                          </a:solidFill>
                          <a:effectLst/>
                          <a:latin typeface="+mn-lt"/>
                        </a:rPr>
                        <a:t>1409</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0" i="0" u="none" strike="noStrike">
                          <a:solidFill>
                            <a:schemeClr val="tx1"/>
                          </a:solidFill>
                          <a:effectLst/>
                          <a:latin typeface="+mn-lt"/>
                        </a:rPr>
                        <a:t>534</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0" i="0" u="none" strike="noStrike">
                          <a:solidFill>
                            <a:schemeClr val="tx1"/>
                          </a:solidFill>
                          <a:effectLst/>
                          <a:latin typeface="+mn-lt"/>
                        </a:rPr>
                        <a:t>283</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0" i="0" u="none" strike="noStrike">
                          <a:solidFill>
                            <a:schemeClr val="tx1"/>
                          </a:solidFill>
                          <a:effectLst/>
                          <a:latin typeface="+mn-lt"/>
                        </a:rPr>
                        <a:t>1107</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55694242"/>
                  </a:ext>
                </a:extLst>
              </a:tr>
              <a:tr h="240790">
                <a:tc>
                  <a:txBody>
                    <a:bodyPr/>
                    <a:lstStyle/>
                    <a:p>
                      <a:pPr algn="l" fontAlgn="b"/>
                      <a:r>
                        <a:rPr lang="nb-NO" sz="1100" b="1" u="none" strike="noStrike">
                          <a:effectLst/>
                        </a:rPr>
                        <a:t>Nettleie</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550</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652</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608</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617</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673</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34382428"/>
                  </a:ext>
                </a:extLst>
              </a:tr>
              <a:tr h="240790">
                <a:tc>
                  <a:txBody>
                    <a:bodyPr/>
                    <a:lstStyle/>
                    <a:p>
                      <a:pPr algn="l" fontAlgn="b"/>
                      <a:r>
                        <a:rPr lang="nb-NO" sz="1100" u="none" strike="noStrike">
                          <a:effectLst/>
                        </a:rPr>
                        <a:t>Kapasitetsledd</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172</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211</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225</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263</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208</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72913243"/>
                  </a:ext>
                </a:extLst>
              </a:tr>
              <a:tr h="240790">
                <a:tc>
                  <a:txBody>
                    <a:bodyPr/>
                    <a:lstStyle/>
                    <a:p>
                      <a:pPr algn="l" fontAlgn="b"/>
                      <a:r>
                        <a:rPr lang="nb-NO" sz="1100" b="1" u="none" strike="noStrike">
                          <a:effectLst/>
                        </a:rPr>
                        <a:t>Avgifter</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765</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787</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563</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261</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711</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68687517"/>
                  </a:ext>
                </a:extLst>
              </a:tr>
              <a:tr h="240790">
                <a:tc>
                  <a:txBody>
                    <a:bodyPr/>
                    <a:lstStyle/>
                    <a:p>
                      <a:pPr algn="l" fontAlgn="b"/>
                      <a:r>
                        <a:rPr lang="nb-NO" sz="1100" b="1" u="none" strike="noStrike">
                          <a:effectLst/>
                        </a:rPr>
                        <a:t>Strømstøtte</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443</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483</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113</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53</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261</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68196864"/>
                  </a:ext>
                </a:extLst>
              </a:tr>
              <a:tr h="240790">
                <a:tc>
                  <a:txBody>
                    <a:bodyPr/>
                    <a:lstStyle/>
                    <a:p>
                      <a:pPr algn="l" fontAlgn="b"/>
                      <a:r>
                        <a:rPr lang="nb-NO" sz="1100" b="1" u="none" strike="noStrike">
                          <a:effectLst/>
                        </a:rPr>
                        <a:t>Totalt</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2395</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2494</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1723</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1269</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2357</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1809596"/>
                  </a:ext>
                </a:extLst>
              </a:tr>
            </a:tbl>
          </a:graphicData>
        </a:graphic>
      </p:graphicFrame>
      <p:graphicFrame>
        <p:nvGraphicFramePr>
          <p:cNvPr id="3" name="Tabell 2">
            <a:extLst>
              <a:ext uri="{FF2B5EF4-FFF2-40B4-BE49-F238E27FC236}">
                <a16:creationId xmlns:a16="http://schemas.microsoft.com/office/drawing/2014/main" id="{66EBE1B5-41E1-64BE-AF06-C54A67111AFA}"/>
              </a:ext>
            </a:extLst>
          </p:cNvPr>
          <p:cNvGraphicFramePr>
            <a:graphicFrameLocks noGrp="1"/>
          </p:cNvGraphicFramePr>
          <p:nvPr>
            <p:extLst>
              <p:ext uri="{D42A27DB-BD31-4B8C-83A1-F6EECF244321}">
                <p14:modId xmlns:p14="http://schemas.microsoft.com/office/powerpoint/2010/main" val="2913415506"/>
              </p:ext>
            </p:extLst>
          </p:nvPr>
        </p:nvGraphicFramePr>
        <p:xfrm>
          <a:off x="4655920" y="2305663"/>
          <a:ext cx="4352248" cy="2284063"/>
        </p:xfrm>
        <a:graphic>
          <a:graphicData uri="http://schemas.openxmlformats.org/drawingml/2006/table">
            <a:tbl>
              <a:tblPr>
                <a:tableStyleId>{8FD4443E-F989-4FC4-A0C8-D5A2AF1F390B}</a:tableStyleId>
              </a:tblPr>
              <a:tblGrid>
                <a:gridCol w="1203643">
                  <a:extLst>
                    <a:ext uri="{9D8B030D-6E8A-4147-A177-3AD203B41FA5}">
                      <a16:colId xmlns:a16="http://schemas.microsoft.com/office/drawing/2014/main" val="935442922"/>
                    </a:ext>
                  </a:extLst>
                </a:gridCol>
                <a:gridCol w="629721">
                  <a:extLst>
                    <a:ext uri="{9D8B030D-6E8A-4147-A177-3AD203B41FA5}">
                      <a16:colId xmlns:a16="http://schemas.microsoft.com/office/drawing/2014/main" val="3177433931"/>
                    </a:ext>
                  </a:extLst>
                </a:gridCol>
                <a:gridCol w="629721">
                  <a:extLst>
                    <a:ext uri="{9D8B030D-6E8A-4147-A177-3AD203B41FA5}">
                      <a16:colId xmlns:a16="http://schemas.microsoft.com/office/drawing/2014/main" val="2764449417"/>
                    </a:ext>
                  </a:extLst>
                </a:gridCol>
                <a:gridCol w="629721">
                  <a:extLst>
                    <a:ext uri="{9D8B030D-6E8A-4147-A177-3AD203B41FA5}">
                      <a16:colId xmlns:a16="http://schemas.microsoft.com/office/drawing/2014/main" val="802432276"/>
                    </a:ext>
                  </a:extLst>
                </a:gridCol>
                <a:gridCol w="629721">
                  <a:extLst>
                    <a:ext uri="{9D8B030D-6E8A-4147-A177-3AD203B41FA5}">
                      <a16:colId xmlns:a16="http://schemas.microsoft.com/office/drawing/2014/main" val="3867378429"/>
                    </a:ext>
                  </a:extLst>
                </a:gridCol>
                <a:gridCol w="629721">
                  <a:extLst>
                    <a:ext uri="{9D8B030D-6E8A-4147-A177-3AD203B41FA5}">
                      <a16:colId xmlns:a16="http://schemas.microsoft.com/office/drawing/2014/main" val="3335817596"/>
                    </a:ext>
                  </a:extLst>
                </a:gridCol>
              </a:tblGrid>
              <a:tr h="232830">
                <a:tc>
                  <a:txBody>
                    <a:bodyPr/>
                    <a:lstStyle/>
                    <a:p>
                      <a:pPr algn="l" fontAlgn="b"/>
                      <a:r>
                        <a:rPr lang="nb-NO" sz="1100" b="1" i="0" u="none" strike="noStrike">
                          <a:solidFill>
                            <a:srgbClr val="FFFFFF"/>
                          </a:solidFill>
                          <a:effectLst/>
                          <a:latin typeface="Calibri" panose="020F0502020204030204" pitchFamily="34" charset="0"/>
                        </a:rPr>
                        <a:t>Februar 2025</a:t>
                      </a: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100" b="1" u="none" strike="noStrike">
                          <a:effectLst/>
                        </a:rPr>
                        <a:t>NO1</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100" b="1" u="none" strike="noStrike">
                          <a:effectLst/>
                        </a:rPr>
                        <a:t>NO2</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100" b="1" u="none" strike="noStrike">
                          <a:effectLst/>
                        </a:rPr>
                        <a:t>NO3</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100" b="1" u="none" strike="noStrike">
                          <a:effectLst/>
                        </a:rPr>
                        <a:t>NO4</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1100" b="1" u="none" strike="noStrike">
                          <a:effectLst/>
                        </a:rPr>
                        <a:t>NO5</a:t>
                      </a:r>
                      <a:endParaRPr lang="nb-NO" sz="1100" b="1" i="0" u="none" strike="noStrike">
                        <a:solidFill>
                          <a:srgbClr val="FFFFFF"/>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13563333"/>
                  </a:ext>
                </a:extLst>
              </a:tr>
              <a:tr h="421423">
                <a:tc>
                  <a:txBody>
                    <a:bodyPr/>
                    <a:lstStyle/>
                    <a:p>
                      <a:pPr algn="l" fontAlgn="b"/>
                      <a:r>
                        <a:rPr lang="nb-NO" sz="1100" u="none" strike="noStrike">
                          <a:effectLst/>
                        </a:rPr>
                        <a:t>Gjennomsnittlig forbruk (KWh)</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1596</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1552</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1537</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1867</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1487</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83053771"/>
                  </a:ext>
                </a:extLst>
              </a:tr>
              <a:tr h="232830">
                <a:tc>
                  <a:txBody>
                    <a:bodyPr/>
                    <a:lstStyle/>
                    <a:p>
                      <a:pPr algn="l" fontAlgn="b"/>
                      <a:r>
                        <a:rPr lang="nb-NO" sz="1100" b="1" u="none" strike="noStrike">
                          <a:effectLst/>
                        </a:rPr>
                        <a:t>Strømregning</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1719</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1725</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670</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292</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1422</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22986289"/>
                  </a:ext>
                </a:extLst>
              </a:tr>
              <a:tr h="232830">
                <a:tc>
                  <a:txBody>
                    <a:bodyPr/>
                    <a:lstStyle/>
                    <a:p>
                      <a:pPr algn="l" fontAlgn="b"/>
                      <a:r>
                        <a:rPr lang="nb-NO" sz="1100" u="none" strike="noStrike">
                          <a:effectLst/>
                        </a:rPr>
                        <a:t>Spotpris</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1599</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1607</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553</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158</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1307</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25914528"/>
                  </a:ext>
                </a:extLst>
              </a:tr>
              <a:tr h="232830">
                <a:tc>
                  <a:txBody>
                    <a:bodyPr/>
                    <a:lstStyle/>
                    <a:p>
                      <a:pPr algn="l" fontAlgn="b"/>
                      <a:r>
                        <a:rPr lang="nb-NO" sz="1100" b="1" u="none" strike="noStrike">
                          <a:effectLst/>
                        </a:rPr>
                        <a:t>Nettleie</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501</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595</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548</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536</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605</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1465073"/>
                  </a:ext>
                </a:extLst>
              </a:tr>
              <a:tr h="232830">
                <a:tc>
                  <a:txBody>
                    <a:bodyPr/>
                    <a:lstStyle/>
                    <a:p>
                      <a:pPr algn="l" fontAlgn="b"/>
                      <a:r>
                        <a:rPr lang="nb-NO" sz="1100" u="none" strike="noStrike">
                          <a:effectLst/>
                        </a:rPr>
                        <a:t>Kapasitetsledd</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172</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211</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225</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263</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u="none" strike="noStrike">
                          <a:effectLst/>
                        </a:rPr>
                        <a:t>208</a:t>
                      </a:r>
                      <a:endParaRPr lang="nb-NO" sz="1100" b="0"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38974824"/>
                  </a:ext>
                </a:extLst>
              </a:tr>
              <a:tr h="232830">
                <a:tc>
                  <a:txBody>
                    <a:bodyPr/>
                    <a:lstStyle/>
                    <a:p>
                      <a:pPr algn="l" fontAlgn="b"/>
                      <a:r>
                        <a:rPr lang="nb-NO" sz="1100" b="1" u="none" strike="noStrike">
                          <a:effectLst/>
                        </a:rPr>
                        <a:t>Avgifter</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770</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789</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512</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202</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707</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320537809"/>
                  </a:ext>
                </a:extLst>
              </a:tr>
              <a:tr h="232830">
                <a:tc>
                  <a:txBody>
                    <a:bodyPr/>
                    <a:lstStyle/>
                    <a:p>
                      <a:pPr algn="l" fontAlgn="b"/>
                      <a:r>
                        <a:rPr lang="nb-NO" sz="1100" b="1" u="none" strike="noStrike">
                          <a:effectLst/>
                        </a:rPr>
                        <a:t>Strømstøtte</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576</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609</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86</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1</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376</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67920125"/>
                  </a:ext>
                </a:extLst>
              </a:tr>
              <a:tr h="232830">
                <a:tc>
                  <a:txBody>
                    <a:bodyPr/>
                    <a:lstStyle/>
                    <a:p>
                      <a:pPr algn="l" fontAlgn="b"/>
                      <a:r>
                        <a:rPr lang="nb-NO" sz="1100" b="1" u="none" strike="noStrike">
                          <a:effectLst/>
                        </a:rPr>
                        <a:t>Totalt</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2414</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2499</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1645</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1029</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1100" b="1" u="none" strike="noStrike">
                          <a:effectLst/>
                        </a:rPr>
                        <a:t>2358</a:t>
                      </a:r>
                      <a:endParaRPr lang="nb-NO" sz="1100" b="1" i="0" u="none" strike="noStrike">
                        <a:solidFill>
                          <a:srgbClr val="000000"/>
                        </a:solidFill>
                        <a:effectLst/>
                        <a:latin typeface="Calibri" panose="020F0502020204030204" pitchFamily="34" charset="0"/>
                      </a:endParaRPr>
                    </a:p>
                  </a:txBody>
                  <a:tcPr marL="95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9199808"/>
                  </a:ext>
                </a:extLst>
              </a:tr>
            </a:tbl>
          </a:graphicData>
        </a:graphic>
      </p:graphicFrame>
      <p:graphicFrame>
        <p:nvGraphicFramePr>
          <p:cNvPr id="8" name="Tabell 7">
            <a:extLst>
              <a:ext uri="{FF2B5EF4-FFF2-40B4-BE49-F238E27FC236}">
                <a16:creationId xmlns:a16="http://schemas.microsoft.com/office/drawing/2014/main" id="{6E0BA0D4-A496-8A83-04E4-05D137413797}"/>
              </a:ext>
            </a:extLst>
          </p:cNvPr>
          <p:cNvGraphicFramePr>
            <a:graphicFrameLocks noGrp="1"/>
          </p:cNvGraphicFramePr>
          <p:nvPr>
            <p:extLst>
              <p:ext uri="{D42A27DB-BD31-4B8C-83A1-F6EECF244321}">
                <p14:modId xmlns:p14="http://schemas.microsoft.com/office/powerpoint/2010/main" val="918503507"/>
              </p:ext>
            </p:extLst>
          </p:nvPr>
        </p:nvGraphicFramePr>
        <p:xfrm>
          <a:off x="4655919" y="157774"/>
          <a:ext cx="4352250" cy="2147888"/>
        </p:xfrm>
        <a:graphic>
          <a:graphicData uri="http://schemas.openxmlformats.org/drawingml/2006/table">
            <a:tbl>
              <a:tblPr>
                <a:tableStyleId>{D03447BB-5D67-496B-8E87-E561075AD55C}</a:tableStyleId>
              </a:tblPr>
              <a:tblGrid>
                <a:gridCol w="1213722">
                  <a:extLst>
                    <a:ext uri="{9D8B030D-6E8A-4147-A177-3AD203B41FA5}">
                      <a16:colId xmlns:a16="http://schemas.microsoft.com/office/drawing/2014/main" val="2708767555"/>
                    </a:ext>
                  </a:extLst>
                </a:gridCol>
                <a:gridCol w="632012">
                  <a:extLst>
                    <a:ext uri="{9D8B030D-6E8A-4147-A177-3AD203B41FA5}">
                      <a16:colId xmlns:a16="http://schemas.microsoft.com/office/drawing/2014/main" val="2644407360"/>
                    </a:ext>
                  </a:extLst>
                </a:gridCol>
                <a:gridCol w="605118">
                  <a:extLst>
                    <a:ext uri="{9D8B030D-6E8A-4147-A177-3AD203B41FA5}">
                      <a16:colId xmlns:a16="http://schemas.microsoft.com/office/drawing/2014/main" val="2517468684"/>
                    </a:ext>
                  </a:extLst>
                </a:gridCol>
                <a:gridCol w="638735">
                  <a:extLst>
                    <a:ext uri="{9D8B030D-6E8A-4147-A177-3AD203B41FA5}">
                      <a16:colId xmlns:a16="http://schemas.microsoft.com/office/drawing/2014/main" val="3348804730"/>
                    </a:ext>
                  </a:extLst>
                </a:gridCol>
                <a:gridCol w="632012">
                  <a:extLst>
                    <a:ext uri="{9D8B030D-6E8A-4147-A177-3AD203B41FA5}">
                      <a16:colId xmlns:a16="http://schemas.microsoft.com/office/drawing/2014/main" val="3571158731"/>
                    </a:ext>
                  </a:extLst>
                </a:gridCol>
                <a:gridCol w="630651">
                  <a:extLst>
                    <a:ext uri="{9D8B030D-6E8A-4147-A177-3AD203B41FA5}">
                      <a16:colId xmlns:a16="http://schemas.microsoft.com/office/drawing/2014/main" val="1066793221"/>
                    </a:ext>
                  </a:extLst>
                </a:gridCol>
              </a:tblGrid>
              <a:tr h="296317">
                <a:tc>
                  <a:txBody>
                    <a:bodyPr/>
                    <a:lstStyle/>
                    <a:p>
                      <a:pPr algn="l" fontAlgn="b"/>
                      <a:r>
                        <a:rPr lang="nb-NO" sz="900" b="1" u="none" strike="noStrike">
                          <a:effectLst/>
                        </a:rPr>
                        <a:t>Februar 2024</a:t>
                      </a:r>
                      <a:endParaRPr lang="nb-NO" sz="900" b="1" i="0" u="none" strike="noStrike">
                        <a:solidFill>
                          <a:srgbClr val="FFFFFF"/>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900" b="1" u="none" strike="noStrike">
                          <a:effectLst/>
                        </a:rPr>
                        <a:t>NO1</a:t>
                      </a:r>
                      <a:endParaRPr lang="nb-NO" sz="900" b="1" i="0" u="none" strike="noStrike">
                        <a:solidFill>
                          <a:srgbClr val="FFFFFF"/>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900" b="1" u="none" strike="noStrike">
                          <a:effectLst/>
                        </a:rPr>
                        <a:t>NO2</a:t>
                      </a:r>
                      <a:endParaRPr lang="nb-NO" sz="900" b="1" i="0" u="none" strike="noStrike">
                        <a:solidFill>
                          <a:srgbClr val="FFFFFF"/>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900" b="1" u="none" strike="noStrike">
                          <a:effectLst/>
                        </a:rPr>
                        <a:t>NO3</a:t>
                      </a:r>
                      <a:endParaRPr lang="nb-NO" sz="900" b="1" i="0" u="none" strike="noStrike">
                        <a:solidFill>
                          <a:srgbClr val="FFFFFF"/>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900" b="1" u="none" strike="noStrike">
                          <a:effectLst/>
                        </a:rPr>
                        <a:t>NO4</a:t>
                      </a:r>
                      <a:endParaRPr lang="nb-NO" sz="900" b="1" i="0" u="none" strike="noStrike">
                        <a:solidFill>
                          <a:srgbClr val="FFFFFF"/>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nb-NO" sz="900" b="1" u="none" strike="noStrike">
                          <a:effectLst/>
                        </a:rPr>
                        <a:t>NO5</a:t>
                      </a:r>
                      <a:endParaRPr lang="nb-NO" sz="900" b="1" i="0" u="none" strike="noStrike">
                        <a:solidFill>
                          <a:srgbClr val="FFFFFF"/>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30538371"/>
                  </a:ext>
                </a:extLst>
              </a:tr>
              <a:tr h="440382">
                <a:tc>
                  <a:txBody>
                    <a:bodyPr/>
                    <a:lstStyle/>
                    <a:p>
                      <a:pPr algn="l" fontAlgn="b"/>
                      <a:r>
                        <a:rPr lang="nb-NO" sz="900" u="none" strike="noStrike">
                          <a:effectLst/>
                        </a:rPr>
                        <a:t>Gjennomsnittlig forbruk (KWh)</a:t>
                      </a:r>
                      <a:endParaRPr lang="nb-NO" sz="9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u="none" strike="noStrike">
                          <a:effectLst/>
                        </a:rPr>
                        <a:t>1665</a:t>
                      </a:r>
                      <a:endParaRPr lang="nb-NO" sz="9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u="none" strike="noStrike">
                          <a:effectLst/>
                        </a:rPr>
                        <a:t>1612</a:t>
                      </a:r>
                      <a:endParaRPr lang="nb-NO" sz="9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u="none" strike="noStrike">
                          <a:effectLst/>
                        </a:rPr>
                        <a:t>1672</a:t>
                      </a:r>
                      <a:endParaRPr lang="nb-NO" sz="9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u="none" strike="noStrike">
                          <a:effectLst/>
                        </a:rPr>
                        <a:t>2208</a:t>
                      </a:r>
                      <a:endParaRPr lang="nb-NO" sz="9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u="none" strike="noStrike">
                          <a:effectLst/>
                        </a:rPr>
                        <a:t>1551</a:t>
                      </a:r>
                      <a:endParaRPr lang="nb-NO" sz="9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452331"/>
                  </a:ext>
                </a:extLst>
              </a:tr>
              <a:tr h="296317">
                <a:tc>
                  <a:txBody>
                    <a:bodyPr/>
                    <a:lstStyle/>
                    <a:p>
                      <a:pPr algn="l" fontAlgn="b"/>
                      <a:r>
                        <a:rPr lang="nb-NO" sz="900" b="1" u="none" strike="noStrike">
                          <a:effectLst/>
                        </a:rPr>
                        <a:t>Strømregning</a:t>
                      </a:r>
                      <a:endParaRPr lang="nb-NO" sz="9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b="1" u="none" strike="noStrike">
                          <a:effectLst/>
                        </a:rPr>
                        <a:t>1268</a:t>
                      </a:r>
                      <a:endParaRPr lang="nb-NO" sz="9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b="1" u="none" strike="noStrike">
                          <a:effectLst/>
                        </a:rPr>
                        <a:t>1215</a:t>
                      </a:r>
                      <a:endParaRPr lang="nb-NO" sz="9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b="1" u="none" strike="noStrike">
                          <a:effectLst/>
                        </a:rPr>
                        <a:t>998</a:t>
                      </a:r>
                      <a:endParaRPr lang="nb-NO" sz="9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b="1" u="none" strike="noStrike">
                          <a:effectLst/>
                        </a:rPr>
                        <a:t>1092</a:t>
                      </a:r>
                      <a:endParaRPr lang="nb-NO" sz="9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b="1" u="none" strike="noStrike">
                          <a:effectLst/>
                        </a:rPr>
                        <a:t>1188</a:t>
                      </a:r>
                      <a:endParaRPr lang="nb-NO" sz="9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02942422"/>
                  </a:ext>
                </a:extLst>
              </a:tr>
              <a:tr h="163711">
                <a:tc>
                  <a:txBody>
                    <a:bodyPr/>
                    <a:lstStyle/>
                    <a:p>
                      <a:pPr algn="l" fontAlgn="b"/>
                      <a:r>
                        <a:rPr lang="nb-NO" sz="900" u="none" strike="noStrike">
                          <a:effectLst/>
                        </a:rPr>
                        <a:t>Spotpris</a:t>
                      </a:r>
                      <a:endParaRPr lang="nb-NO" sz="9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u="none" strike="noStrike">
                          <a:effectLst/>
                        </a:rPr>
                        <a:t>1144</a:t>
                      </a:r>
                      <a:endParaRPr lang="nb-NO" sz="9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u="none" strike="noStrike">
                          <a:effectLst/>
                        </a:rPr>
                        <a:t>1095</a:t>
                      </a:r>
                      <a:endParaRPr lang="nb-NO" sz="9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u="none" strike="noStrike">
                          <a:effectLst/>
                        </a:rPr>
                        <a:t>875</a:t>
                      </a:r>
                      <a:endParaRPr lang="nb-NO" sz="9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u="none" strike="noStrike">
                          <a:effectLst/>
                        </a:rPr>
                        <a:t>941</a:t>
                      </a:r>
                      <a:endParaRPr lang="nb-NO" sz="9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u="none" strike="noStrike">
                          <a:effectLst/>
                        </a:rPr>
                        <a:t>1070</a:t>
                      </a:r>
                      <a:endParaRPr lang="nb-NO" sz="9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74410107"/>
                  </a:ext>
                </a:extLst>
              </a:tr>
              <a:tr h="163711">
                <a:tc>
                  <a:txBody>
                    <a:bodyPr/>
                    <a:lstStyle/>
                    <a:p>
                      <a:pPr algn="l" fontAlgn="b"/>
                      <a:r>
                        <a:rPr lang="nb-NO" sz="900" b="1" u="none" strike="noStrike">
                          <a:effectLst/>
                        </a:rPr>
                        <a:t>Nettleie</a:t>
                      </a:r>
                      <a:endParaRPr lang="nb-NO" sz="9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b="1" u="none" strike="noStrike">
                          <a:effectLst/>
                        </a:rPr>
                        <a:t>473</a:t>
                      </a:r>
                      <a:endParaRPr lang="nb-NO" sz="9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b="1" u="none" strike="noStrike">
                          <a:effectLst/>
                        </a:rPr>
                        <a:t>539</a:t>
                      </a:r>
                      <a:endParaRPr lang="nb-NO" sz="9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b="1" u="none" strike="noStrike">
                          <a:effectLst/>
                        </a:rPr>
                        <a:t>539</a:t>
                      </a:r>
                      <a:endParaRPr lang="nb-NO" sz="9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b="1" u="none" strike="noStrike">
                          <a:effectLst/>
                        </a:rPr>
                        <a:t>614</a:t>
                      </a:r>
                      <a:endParaRPr lang="nb-NO" sz="9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b="1" u="none" strike="noStrike">
                          <a:effectLst/>
                        </a:rPr>
                        <a:t>549</a:t>
                      </a:r>
                      <a:endParaRPr lang="nb-NO" sz="9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24477055"/>
                  </a:ext>
                </a:extLst>
              </a:tr>
              <a:tr h="296317">
                <a:tc>
                  <a:txBody>
                    <a:bodyPr/>
                    <a:lstStyle/>
                    <a:p>
                      <a:pPr algn="l" fontAlgn="b"/>
                      <a:r>
                        <a:rPr lang="nb-NO" sz="900" u="none" strike="noStrike">
                          <a:effectLst/>
                        </a:rPr>
                        <a:t>Kapasitetsledd</a:t>
                      </a:r>
                      <a:endParaRPr lang="nb-NO" sz="9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u="none" strike="noStrike">
                          <a:effectLst/>
                        </a:rPr>
                        <a:t>152</a:t>
                      </a:r>
                      <a:endParaRPr lang="nb-NO" sz="9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u="none" strike="noStrike">
                          <a:effectLst/>
                        </a:rPr>
                        <a:t>195</a:t>
                      </a:r>
                      <a:endParaRPr lang="nb-NO" sz="9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u="none" strike="noStrike">
                          <a:effectLst/>
                        </a:rPr>
                        <a:t>211</a:t>
                      </a:r>
                      <a:endParaRPr lang="nb-NO" sz="9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u="none" strike="noStrike">
                          <a:effectLst/>
                        </a:rPr>
                        <a:t>291</a:t>
                      </a:r>
                      <a:endParaRPr lang="nb-NO" sz="9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u="none" strike="noStrike">
                          <a:effectLst/>
                        </a:rPr>
                        <a:t>165</a:t>
                      </a:r>
                      <a:endParaRPr lang="nb-NO" sz="900" b="0"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05929786"/>
                  </a:ext>
                </a:extLst>
              </a:tr>
              <a:tr h="163711">
                <a:tc>
                  <a:txBody>
                    <a:bodyPr/>
                    <a:lstStyle/>
                    <a:p>
                      <a:pPr algn="l" fontAlgn="b"/>
                      <a:r>
                        <a:rPr lang="nb-NO" sz="900" b="1" u="none" strike="noStrike">
                          <a:effectLst/>
                        </a:rPr>
                        <a:t>Avgifter</a:t>
                      </a:r>
                      <a:endParaRPr lang="nb-NO" sz="9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b="1" u="none" strike="noStrike">
                          <a:effectLst/>
                        </a:rPr>
                        <a:t>654</a:t>
                      </a:r>
                      <a:endParaRPr lang="nb-NO" sz="9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b="1" u="none" strike="noStrike">
                          <a:effectLst/>
                        </a:rPr>
                        <a:t>650</a:t>
                      </a:r>
                      <a:endParaRPr lang="nb-NO" sz="9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b="1" u="none" strike="noStrike">
                          <a:effectLst/>
                        </a:rPr>
                        <a:t>604</a:t>
                      </a:r>
                      <a:endParaRPr lang="nb-NO" sz="9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b="1" u="none" strike="noStrike">
                          <a:effectLst/>
                        </a:rPr>
                        <a:t>232</a:t>
                      </a:r>
                      <a:endParaRPr lang="nb-NO" sz="9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b="1" u="none" strike="noStrike">
                          <a:effectLst/>
                        </a:rPr>
                        <a:t>638</a:t>
                      </a:r>
                      <a:endParaRPr lang="nb-NO" sz="9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01596756"/>
                  </a:ext>
                </a:extLst>
              </a:tr>
              <a:tr h="163711">
                <a:tc>
                  <a:txBody>
                    <a:bodyPr/>
                    <a:lstStyle/>
                    <a:p>
                      <a:pPr algn="l" fontAlgn="b"/>
                      <a:r>
                        <a:rPr lang="nb-NO" sz="900" b="1" u="none" strike="noStrike">
                          <a:effectLst/>
                        </a:rPr>
                        <a:t>Strømstøtte</a:t>
                      </a:r>
                      <a:endParaRPr lang="nb-NO" sz="9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b="1" u="none" strike="noStrike">
                          <a:effectLst/>
                        </a:rPr>
                        <a:t>-88</a:t>
                      </a:r>
                      <a:endParaRPr lang="nb-NO" sz="9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b="1" u="none" strike="noStrike">
                          <a:effectLst/>
                        </a:rPr>
                        <a:t>-76</a:t>
                      </a:r>
                      <a:endParaRPr lang="nb-NO" sz="9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b="1" u="none" strike="noStrike">
                          <a:effectLst/>
                        </a:rPr>
                        <a:t>-41</a:t>
                      </a:r>
                      <a:endParaRPr lang="nb-NO" sz="9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b="1" u="none" strike="noStrike">
                          <a:effectLst/>
                        </a:rPr>
                        <a:t>-16</a:t>
                      </a:r>
                      <a:endParaRPr lang="nb-NO" sz="9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b="1" u="none" strike="noStrike">
                          <a:effectLst/>
                        </a:rPr>
                        <a:t>-75</a:t>
                      </a:r>
                      <a:endParaRPr lang="nb-NO" sz="9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99276538"/>
                  </a:ext>
                </a:extLst>
              </a:tr>
              <a:tr h="163711">
                <a:tc>
                  <a:txBody>
                    <a:bodyPr/>
                    <a:lstStyle/>
                    <a:p>
                      <a:pPr algn="l" fontAlgn="b"/>
                      <a:r>
                        <a:rPr lang="nb-NO" sz="900" b="1" u="none" strike="noStrike">
                          <a:effectLst/>
                        </a:rPr>
                        <a:t>Totalt</a:t>
                      </a:r>
                      <a:endParaRPr lang="nb-NO" sz="9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b="1" u="none" strike="noStrike">
                          <a:effectLst/>
                        </a:rPr>
                        <a:t>2307</a:t>
                      </a:r>
                      <a:endParaRPr lang="nb-NO" sz="9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b="1" u="none" strike="noStrike">
                          <a:effectLst/>
                        </a:rPr>
                        <a:t>2329</a:t>
                      </a:r>
                      <a:endParaRPr lang="nb-NO" sz="9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b="1" u="none" strike="noStrike">
                          <a:effectLst/>
                        </a:rPr>
                        <a:t>2100</a:t>
                      </a:r>
                      <a:endParaRPr lang="nb-NO" sz="9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b="1" u="none" strike="noStrike">
                          <a:effectLst/>
                        </a:rPr>
                        <a:t>1922</a:t>
                      </a:r>
                      <a:endParaRPr lang="nb-NO" sz="9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b"/>
                      <a:r>
                        <a:rPr lang="nb-NO" sz="900" b="1" u="none" strike="noStrike">
                          <a:effectLst/>
                        </a:rPr>
                        <a:t>2300</a:t>
                      </a:r>
                      <a:endParaRPr lang="nb-NO" sz="900" b="1" i="0" u="none" strike="noStrike">
                        <a:solidFill>
                          <a:srgbClr val="000000"/>
                        </a:solidFill>
                        <a:effectLst/>
                        <a:latin typeface="Calibri" panose="020F0502020204030204" pitchFamily="34" charset="0"/>
                      </a:endParaRPr>
                    </a:p>
                  </a:txBody>
                  <a:tcPr marL="8186" marR="8186" marT="8186"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83399522"/>
                  </a:ext>
                </a:extLst>
              </a:tr>
            </a:tbl>
          </a:graphicData>
        </a:graphic>
      </p:graphicFrame>
    </p:spTree>
    <p:extLst>
      <p:ext uri="{BB962C8B-B14F-4D97-AF65-F5344CB8AC3E}">
        <p14:creationId xmlns:p14="http://schemas.microsoft.com/office/powerpoint/2010/main" val="4169780862"/>
      </p:ext>
    </p:extLst>
  </p:cSld>
  <p:clrMapOvr>
    <a:masterClrMapping/>
  </p:clrMapOvr>
  <p:extLst>
    <p:ext uri="{6950BFC3-D8DA-4A85-94F7-54DA5524770B}">
      <p188:commentRel xmlns:p188="http://schemas.microsoft.com/office/powerpoint/2018/8/main" r:id="rId2"/>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E601A1A-2629-9E12-9DFE-9BDAC856ED65}"/>
              </a:ext>
            </a:extLst>
          </p:cNvPr>
          <p:cNvGraphicFramePr>
            <a:graphicFrameLocks noChangeAspect="1"/>
          </p:cNvGraphicFramePr>
          <p:nvPr>
            <p:custDataLst>
              <p:tags r:id="rId1"/>
            </p:custDataLst>
            <p:extLst>
              <p:ext uri="{D42A27DB-BD31-4B8C-83A1-F6EECF244321}">
                <p14:modId xmlns:p14="http://schemas.microsoft.com/office/powerpoint/2010/main" val="870887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9" name="think-cell data - do not delete" hidden="1">
                        <a:extLst>
                          <a:ext uri="{FF2B5EF4-FFF2-40B4-BE49-F238E27FC236}">
                            <a16:creationId xmlns:a16="http://schemas.microsoft.com/office/drawing/2014/main" id="{8E601A1A-2629-9E12-9DFE-9BDAC856ED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ssholder for dato 1">
            <a:extLst>
              <a:ext uri="{FF2B5EF4-FFF2-40B4-BE49-F238E27FC236}">
                <a16:creationId xmlns:a16="http://schemas.microsoft.com/office/drawing/2014/main" id="{453928CA-7646-A487-8996-CE97A6275D40}"/>
              </a:ext>
            </a:extLst>
          </p:cNvPr>
          <p:cNvSpPr>
            <a:spLocks noGrp="1"/>
          </p:cNvSpPr>
          <p:nvPr>
            <p:ph type="dt" sz="half" idx="10"/>
          </p:nvPr>
        </p:nvSpPr>
        <p:spPr/>
        <p:txBody>
          <a:bodyPr/>
          <a:lstStyle/>
          <a:p>
            <a:r>
              <a:rPr lang="nb-NO"/>
              <a:t>Oslo, dd.mm.yyyy</a:t>
            </a:r>
          </a:p>
        </p:txBody>
      </p:sp>
      <p:sp>
        <p:nvSpPr>
          <p:cNvPr id="3" name="Plassholder for lysbildenummer 2">
            <a:extLst>
              <a:ext uri="{FF2B5EF4-FFF2-40B4-BE49-F238E27FC236}">
                <a16:creationId xmlns:a16="http://schemas.microsoft.com/office/drawing/2014/main" id="{81775C7B-262E-DE67-74E1-4F51072BE205}"/>
              </a:ext>
            </a:extLst>
          </p:cNvPr>
          <p:cNvSpPr>
            <a:spLocks noGrp="1"/>
          </p:cNvSpPr>
          <p:nvPr>
            <p:ph type="sldNum" sz="quarter" idx="12"/>
          </p:nvPr>
        </p:nvSpPr>
        <p:spPr/>
        <p:txBody>
          <a:bodyPr/>
          <a:lstStyle/>
          <a:p>
            <a:fld id="{20EE8A8A-9F66-4500-8547-91D11C77B4B7}" type="slidenum">
              <a:rPr lang="nb-NO" smtClean="0"/>
              <a:pPr/>
              <a:t>8</a:t>
            </a:fld>
            <a:endParaRPr lang="nb-NO"/>
          </a:p>
        </p:txBody>
      </p:sp>
      <p:pic>
        <p:nvPicPr>
          <p:cNvPr id="15" name="Picture 5">
            <a:extLst>
              <a:ext uri="{FF2B5EF4-FFF2-40B4-BE49-F238E27FC236}">
                <a16:creationId xmlns:a16="http://schemas.microsoft.com/office/drawing/2014/main" id="{E74EA589-72EA-AA47-0E44-BCAE8A4D908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2514656" y="565791"/>
            <a:ext cx="5453740" cy="4090304"/>
          </a:xfrm>
          <a:prstGeom prst="rect">
            <a:avLst/>
          </a:prstGeom>
        </p:spPr>
      </p:pic>
      <p:sp>
        <p:nvSpPr>
          <p:cNvPr id="16" name="Tittel 1">
            <a:extLst>
              <a:ext uri="{FF2B5EF4-FFF2-40B4-BE49-F238E27FC236}">
                <a16:creationId xmlns:a16="http://schemas.microsoft.com/office/drawing/2014/main" id="{05F1EE16-5CB9-787E-C19C-5D8FCB48A64F}"/>
              </a:ext>
            </a:extLst>
          </p:cNvPr>
          <p:cNvSpPr>
            <a:spLocks noGrp="1"/>
          </p:cNvSpPr>
          <p:nvPr>
            <p:ph type="title"/>
          </p:nvPr>
        </p:nvSpPr>
        <p:spPr>
          <a:xfrm>
            <a:off x="2277955" y="233392"/>
            <a:ext cx="5359586" cy="664797"/>
          </a:xfrm>
        </p:spPr>
        <p:txBody>
          <a:bodyPr vert="horz"/>
          <a:lstStyle/>
          <a:p>
            <a:r>
              <a:rPr lang="nb-NO">
                <a:solidFill>
                  <a:schemeClr val="accent5">
                    <a:lumMod val="75000"/>
                  </a:schemeClr>
                </a:solidFill>
                <a:cs typeface="Arial"/>
              </a:rPr>
              <a:t>Vedlegg 3: Utvikling over tid</a:t>
            </a:r>
            <a:endParaRPr lang="nb-NO">
              <a:solidFill>
                <a:schemeClr val="accent5">
                  <a:lumMod val="75000"/>
                </a:schemeClr>
              </a:solidFill>
            </a:endParaRPr>
          </a:p>
        </p:txBody>
      </p:sp>
    </p:spTree>
    <p:extLst>
      <p:ext uri="{BB962C8B-B14F-4D97-AF65-F5344CB8AC3E}">
        <p14:creationId xmlns:p14="http://schemas.microsoft.com/office/powerpoint/2010/main" val="30483098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1DC7983-AF56-DA6E-FD76-B992BE95301A}"/>
              </a:ext>
            </a:extLst>
          </p:cNvPr>
          <p:cNvSpPr>
            <a:spLocks noGrp="1"/>
          </p:cNvSpPr>
          <p:nvPr>
            <p:ph type="dt" sz="half" idx="10"/>
          </p:nvPr>
        </p:nvSpPr>
        <p:spPr/>
        <p:txBody>
          <a:bodyPr/>
          <a:lstStyle/>
          <a:p>
            <a:r>
              <a:rPr lang="nb-NO"/>
              <a:t>Oslo, dd.mm.yyyy</a:t>
            </a:r>
          </a:p>
        </p:txBody>
      </p:sp>
      <p:sp>
        <p:nvSpPr>
          <p:cNvPr id="3" name="Plassholder for lysbildenummer 2">
            <a:extLst>
              <a:ext uri="{FF2B5EF4-FFF2-40B4-BE49-F238E27FC236}">
                <a16:creationId xmlns:a16="http://schemas.microsoft.com/office/drawing/2014/main" id="{D8E7AAE4-9C48-F891-CECC-311D27CEB319}"/>
              </a:ext>
            </a:extLst>
          </p:cNvPr>
          <p:cNvSpPr>
            <a:spLocks noGrp="1"/>
          </p:cNvSpPr>
          <p:nvPr>
            <p:ph type="sldNum" sz="quarter" idx="12"/>
          </p:nvPr>
        </p:nvSpPr>
        <p:spPr/>
        <p:txBody>
          <a:bodyPr/>
          <a:lstStyle/>
          <a:p>
            <a:fld id="{20EE8A8A-9F66-4500-8547-91D11C77B4B7}" type="slidenum">
              <a:rPr lang="nb-NO" smtClean="0"/>
              <a:pPr/>
              <a:t>9</a:t>
            </a:fld>
            <a:endParaRPr lang="nb-NO"/>
          </a:p>
        </p:txBody>
      </p:sp>
      <p:sp>
        <p:nvSpPr>
          <p:cNvPr id="4" name="Tittel 3">
            <a:extLst>
              <a:ext uri="{FF2B5EF4-FFF2-40B4-BE49-F238E27FC236}">
                <a16:creationId xmlns:a16="http://schemas.microsoft.com/office/drawing/2014/main" id="{E9729696-B0DE-A8A9-6827-7D49787D48E7}"/>
              </a:ext>
            </a:extLst>
          </p:cNvPr>
          <p:cNvSpPr>
            <a:spLocks noGrp="1"/>
          </p:cNvSpPr>
          <p:nvPr>
            <p:ph type="title"/>
          </p:nvPr>
        </p:nvSpPr>
        <p:spPr/>
        <p:txBody>
          <a:bodyPr/>
          <a:lstStyle/>
          <a:p>
            <a:r>
              <a:rPr lang="nb-NO"/>
              <a:t>Hva er strømprisindeksen?</a:t>
            </a:r>
          </a:p>
        </p:txBody>
      </p:sp>
      <p:sp>
        <p:nvSpPr>
          <p:cNvPr id="9" name="Plassholder for innhold 2">
            <a:extLst>
              <a:ext uri="{FF2B5EF4-FFF2-40B4-BE49-F238E27FC236}">
                <a16:creationId xmlns:a16="http://schemas.microsoft.com/office/drawing/2014/main" id="{B2E2DCC4-3775-3A0B-A70F-0A1A7ADFC6B2}"/>
              </a:ext>
            </a:extLst>
          </p:cNvPr>
          <p:cNvSpPr txBox="1">
            <a:spLocks/>
          </p:cNvSpPr>
          <p:nvPr/>
        </p:nvSpPr>
        <p:spPr>
          <a:xfrm>
            <a:off x="457257" y="1951308"/>
            <a:ext cx="5676565" cy="2339338"/>
          </a:xfrm>
          <a:prstGeom prst="rect">
            <a:avLst/>
          </a:prstGeom>
        </p:spPr>
        <p:txBody>
          <a:bodyPr vert="horz" lIns="0" tIns="0" rIns="0" bIns="0" rtlCol="0" anchor="t">
            <a:normAutofit/>
          </a:bodyPr>
          <a:lstStyle>
            <a:lvl1pPr marL="0" indent="0" algn="l" defTabSz="914400" rtl="0" eaLnBrk="1" latinLnBrk="0" hangingPunct="1">
              <a:lnSpc>
                <a:spcPct val="100000"/>
              </a:lnSpc>
              <a:spcBef>
                <a:spcPts val="800"/>
              </a:spcBef>
              <a:buFont typeface="Arial" panose="020B0604020202020204" pitchFamily="34" charset="0"/>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8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8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85750" indent="-285750">
              <a:lnSpc>
                <a:spcPct val="107000"/>
              </a:lnSpc>
              <a:spcBef>
                <a:spcPts val="0"/>
              </a:spcBef>
              <a:spcAft>
                <a:spcPts val="600"/>
              </a:spcAft>
              <a:buFont typeface="Arial" panose="020B0604020202020204" pitchFamily="34" charset="0"/>
              <a:buChar char="•"/>
            </a:pPr>
            <a:r>
              <a:rPr lang="nb-NO" sz="1100" kern="100">
                <a:ea typeface="Calibri" panose="020F0502020204030204" pitchFamily="34" charset="0"/>
                <a:cs typeface="Times New Roman" panose="02020603050405020304" pitchFamily="18" charset="0"/>
              </a:rPr>
              <a:t>Fornybar Norges strømprisindeks viser hva en gjennomsnittlig husholdning i hvert av de fem norske prisområdene for strøm kan regne med å betale i strømregning, sammenliknet med forrige måned og samme måned forrige år. </a:t>
            </a:r>
          </a:p>
          <a:p>
            <a:pPr marL="285750" indent="-285750">
              <a:lnSpc>
                <a:spcPct val="107000"/>
              </a:lnSpc>
              <a:spcBef>
                <a:spcPts val="0"/>
              </a:spcBef>
              <a:spcAft>
                <a:spcPts val="600"/>
              </a:spcAft>
              <a:buFont typeface="Arial" panose="020B0604020202020204" pitchFamily="34" charset="0"/>
              <a:buChar char="•"/>
            </a:pPr>
            <a:r>
              <a:rPr lang="nb-NO" sz="1100" kern="100">
                <a:ea typeface="Calibri" panose="020F0502020204030204" pitchFamily="34" charset="0"/>
                <a:cs typeface="Times New Roman" panose="02020603050405020304" pitchFamily="18" charset="0"/>
              </a:rPr>
              <a:t>Utregningen er basert på faktiske priser og gjennomsnittlig forbruk i de fem prisområdene, samt nettleie og avgifter. For strømpris er det tatt utgangspunkt i en vanlig spotprisavtale med et påslag på 5 øre/kWh og 40 kroner i fast månedsbeløp. Nettleie er basert på et vektet gjennomsnitt av prisene til de største nettselskapene i hvert prisområde. Tallene er innhentet fra Nord Pool, </a:t>
            </a:r>
            <a:r>
              <a:rPr lang="nb-NO" sz="1100" kern="100" err="1">
                <a:ea typeface="Calibri" panose="020F0502020204030204" pitchFamily="34" charset="0"/>
                <a:cs typeface="Times New Roman" panose="02020603050405020304" pitchFamily="18" charset="0"/>
              </a:rPr>
              <a:t>Elhub</a:t>
            </a:r>
            <a:r>
              <a:rPr lang="nb-NO" sz="1100" kern="100">
                <a:ea typeface="Calibri" panose="020F0502020204030204" pitchFamily="34" charset="0"/>
                <a:cs typeface="Times New Roman" panose="02020603050405020304" pitchFamily="18" charset="0"/>
              </a:rPr>
              <a:t> og nettselskapene. </a:t>
            </a:r>
          </a:p>
          <a:p>
            <a:pPr marL="285750" indent="-285750">
              <a:lnSpc>
                <a:spcPct val="107000"/>
              </a:lnSpc>
              <a:spcBef>
                <a:spcPts val="0"/>
              </a:spcBef>
              <a:spcAft>
                <a:spcPts val="600"/>
              </a:spcAft>
              <a:buFont typeface="Arial" panose="020B0604020202020204" pitchFamily="34" charset="0"/>
              <a:buChar char="•"/>
            </a:pPr>
            <a:r>
              <a:rPr lang="nb-NO" sz="1100" kern="100">
                <a:ea typeface="Calibri" panose="020F0502020204030204" pitchFamily="34" charset="0"/>
                <a:cs typeface="Times New Roman" panose="02020603050405020304" pitchFamily="18" charset="0"/>
              </a:rPr>
              <a:t>Hensikten med strømprisindeksen er å gi norske strømkunder bedre innsikt i hvordan strømprisene utvikler seg over tid, hva som påvirker dem og hvordan strømregningen er sammensatt.</a:t>
            </a:r>
          </a:p>
        </p:txBody>
      </p:sp>
    </p:spTree>
    <p:extLst>
      <p:ext uri="{BB962C8B-B14F-4D97-AF65-F5344CB8AC3E}">
        <p14:creationId xmlns:p14="http://schemas.microsoft.com/office/powerpoint/2010/main" val="205366889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8C00FC"/>
      </a:dk2>
      <a:lt2>
        <a:srgbClr val="E7E6E6"/>
      </a:lt2>
      <a:accent1>
        <a:srgbClr val="440185"/>
      </a:accent1>
      <a:accent2>
        <a:srgbClr val="E7CCFF"/>
      </a:accent2>
      <a:accent3>
        <a:srgbClr val="00583C"/>
      </a:accent3>
      <a:accent4>
        <a:srgbClr val="4BF0C5"/>
      </a:accent4>
      <a:accent5>
        <a:srgbClr val="8C00FC"/>
      </a:accent5>
      <a:accent6>
        <a:srgbClr val="7F7F7F"/>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ornybar norge.potx" id="{CF955149-A45B-49C3-8711-FB8A3A82D5DB}" vid="{7748E326-CEB4-4244-8570-03EBA8BF589D}"/>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0D682D32-1B9D-400A-8463-203F70C35850}">
  <we:reference id="7606cf59-4db8-48a8-b0a0-8d865e20ba2f" version="2.0.0.0" store="\\JØRGEN-JOBB\Users\JørgenBye\Drammen kommune" storeType="Filesystem"/>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0f22a05a-b5e2-4bd8-b764-0ad6c193d339">
      <UserInfo>
        <DisplayName>Bård Standal</DisplayName>
        <AccountId>107</AccountId>
        <AccountType/>
      </UserInfo>
      <UserInfo>
        <DisplayName>Martin Ødegaard</DisplayName>
        <AccountId>93</AccountId>
        <AccountType/>
      </UserInfo>
      <UserInfo>
        <DisplayName>Aslak Øverås</DisplayName>
        <AccountId>29</AccountId>
        <AccountType/>
      </UserInfo>
      <UserInfo>
        <DisplayName>Sindre Sættem</DisplayName>
        <AccountId>54</AccountId>
        <AccountType/>
      </UserInfo>
      <UserInfo>
        <DisplayName>Camilla Vedeler</DisplayName>
        <AccountId>301</AccountId>
        <AccountType/>
      </UserInfo>
      <UserInfo>
        <DisplayName>Thor Egil Braadland</DisplayName>
        <AccountId>1058</AccountId>
        <AccountType/>
      </UserInfo>
      <UserInfo>
        <DisplayName>Iselin Ekeli Rønningsbakk</DisplayName>
        <AccountId>159</AccountId>
        <AccountType/>
      </UserInfo>
      <UserInfo>
        <DisplayName>Ingeborg Aarø</DisplayName>
        <AccountId>1762</AccountId>
        <AccountType/>
      </UserInfo>
    </SharedWithUsers>
    <Status xmlns="0f13f7a7-5a1c-4b07-a3f7-2a8c474a6703" xsi:nil="true"/>
    <Avsender xmlns="0f13f7a7-5a1c-4b07-a3f7-2a8c474a6703" xsi:nil="true"/>
    <TaxCatchAll xmlns="749ab8b6-ff35-4a4f-9f18-9cef83ce6420" xsi:nil="true"/>
    <Saksbehandler xmlns="0f13f7a7-5a1c-4b07-a3f7-2a8c474a6703">
      <UserInfo>
        <DisplayName/>
        <AccountId xsi:nil="true"/>
        <AccountType/>
      </UserInfo>
    </Saksbehandler>
    <Dokumentdato xmlns="0f13f7a7-5a1c-4b07-a3f7-2a8c474a6703" xsi:nil="true"/>
    <Produkt xmlns="0f13f7a7-5a1c-4b07-a3f7-2a8c474a6703" xsi:nil="true"/>
    <lcf76f155ced4ddcb4097134ff3c332f xmlns="0f13f7a7-5a1c-4b07-a3f7-2a8c474a6703">
      <Terms xmlns="http://schemas.microsoft.com/office/infopath/2007/PartnerControls"/>
    </lcf76f155ced4ddcb4097134ff3c332f>
    <_Flow_SignoffStatus xmlns="0f13f7a7-5a1c-4b07-a3f7-2a8c474a6703" xsi:nil="true"/>
    <Mottaker xmlns="0f13f7a7-5a1c-4b07-a3f7-2a8c474a670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BA9BDB9F1F1BFE459CB1AB1E20AAA9DB" ma:contentTypeVersion="25" ma:contentTypeDescription="Create a new document." ma:contentTypeScope="" ma:versionID="5663a10e797f9a27cfd08ce27b86ba75">
  <xsd:schema xmlns:xsd="http://www.w3.org/2001/XMLSchema" xmlns:xs="http://www.w3.org/2001/XMLSchema" xmlns:p="http://schemas.microsoft.com/office/2006/metadata/properties" xmlns:ns2="0f13f7a7-5a1c-4b07-a3f7-2a8c474a6703" xmlns:ns3="0f22a05a-b5e2-4bd8-b764-0ad6c193d339" xmlns:ns4="749ab8b6-ff35-4a4f-9f18-9cef83ce6420" targetNamespace="http://schemas.microsoft.com/office/2006/metadata/properties" ma:root="true" ma:fieldsID="7d60a517287a0327326461a690fc2fdc" ns2:_="" ns3:_="" ns4:_="">
    <xsd:import namespace="0f13f7a7-5a1c-4b07-a3f7-2a8c474a6703"/>
    <xsd:import namespace="0f22a05a-b5e2-4bd8-b764-0ad6c193d339"/>
    <xsd:import namespace="749ab8b6-ff35-4a4f-9f18-9cef83ce6420"/>
    <xsd:element name="properties">
      <xsd:complexType>
        <xsd:sequence>
          <xsd:element name="documentManagement">
            <xsd:complexType>
              <xsd:all>
                <xsd:element ref="ns2:Dokumentdato" minOccurs="0"/>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lcf76f155ced4ddcb4097134ff3c332f" minOccurs="0"/>
                <xsd:element ref="ns4:TaxCatchAll" minOccurs="0"/>
                <xsd:element ref="ns2:MediaServiceGenerationTime" minOccurs="0"/>
                <xsd:element ref="ns2:MediaServiceEventHashCode" minOccurs="0"/>
                <xsd:element ref="ns2:MediaServiceOCR" minOccurs="0"/>
                <xsd:element ref="ns2:MediaServiceLocation" minOccurs="0"/>
                <xsd:element ref="ns2:Saksbehandler" minOccurs="0"/>
                <xsd:element ref="ns2:Mottaker" minOccurs="0"/>
                <xsd:element ref="ns2:Avsender" minOccurs="0"/>
                <xsd:element ref="ns2:_Flow_SignoffStatus" minOccurs="0"/>
                <xsd:element ref="ns2:Status" minOccurs="0"/>
                <xsd:element ref="ns2:MediaServiceObjectDetectorVersions" minOccurs="0"/>
                <xsd:element ref="ns2:Produkt" minOccurs="0"/>
                <xsd:element ref="ns2:MediaServiceSearchProperties"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f13f7a7-5a1c-4b07-a3f7-2a8c474a6703" elementFormDefault="qualified">
    <xsd:import namespace="http://schemas.microsoft.com/office/2006/documentManagement/types"/>
    <xsd:import namespace="http://schemas.microsoft.com/office/infopath/2007/PartnerControls"/>
    <xsd:element name="Dokumentdato" ma:index="8" nillable="true" ma:displayName="Dokumentdato" ma:format="DateOnly" ma:internalName="Dokumentdato">
      <xsd:simpleType>
        <xsd:restriction base="dms:DateTime"/>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9119b49b-2cc3-444e-b755-8692f4554da6" ma:termSetId="09814cd3-568e-fe90-9814-8d621ff8fb84" ma:anchorId="fba54fb3-c3e1-fe81-a776-ca4b69148c4d" ma:open="true" ma:isKeyword="false">
      <xsd:complexType>
        <xsd:sequence>
          <xsd:element ref="pc:Terms" minOccurs="0" maxOccurs="1"/>
        </xsd:sequence>
      </xsd:complex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dexed="true" ma:internalName="MediaServiceLocation" ma:readOnly="true">
      <xsd:simpleType>
        <xsd:restriction base="dms:Text"/>
      </xsd:simpleType>
    </xsd:element>
    <xsd:element name="Saksbehandler" ma:index="22" nillable="true" ma:displayName="Saksbehandler" ma:format="Dropdown" ma:list="UserInfo" ma:SharePointGroup="0" ma:internalName="Saksbehandl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ottaker" ma:index="23" nillable="true" ma:displayName="Mottaker" ma:format="Dropdown" ma:indexed="true" ma:internalName="Mottaker">
      <xsd:simpleType>
        <xsd:restriction base="dms:Text">
          <xsd:maxLength value="255"/>
        </xsd:restriction>
      </xsd:simpleType>
    </xsd:element>
    <xsd:element name="Avsender" ma:index="24" nillable="true" ma:displayName="Avsender" ma:format="Dropdown" ma:internalName="Avsender">
      <xsd:simpleType>
        <xsd:restriction base="dms:Text">
          <xsd:maxLength value="255"/>
        </xsd:restriction>
      </xsd:simpleType>
    </xsd:element>
    <xsd:element name="_Flow_SignoffStatus" ma:index="25" nillable="true" ma:displayName="Sign-off status" ma:internalName="Sign_x002d_off_x0020_status">
      <xsd:simpleType>
        <xsd:restriction base="dms:Text"/>
      </xsd:simpleType>
    </xsd:element>
    <xsd:element name="Status" ma:index="26" nillable="true" ma:displayName="Status" ma:format="Dropdown" ma:internalName="Status">
      <xsd:simpleType>
        <xsd:restriction base="dms:Text">
          <xsd:maxLength value="255"/>
        </xsd:restriction>
      </xsd:simple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element name="Produkt" ma:index="28" nillable="true" ma:displayName="Produkt" ma:format="Dropdown" ma:internalName="Produkt">
      <xsd:simpleType>
        <xsd:restriction base="dms:Text">
          <xsd:maxLength value="255"/>
        </xsd:restriction>
      </xsd:simpleType>
    </xsd:element>
    <xsd:element name="MediaServiceSearchProperties" ma:index="29" nillable="true" ma:displayName="MediaServiceSearchProperties" ma:hidden="true" ma:internalName="MediaServiceSearchProperties" ma:readOnly="true">
      <xsd:simpleType>
        <xsd:restriction base="dms:Note"/>
      </xsd:simpleType>
    </xsd:element>
    <xsd:element name="MediaServiceBillingMetadata" ma:index="30"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f22a05a-b5e2-4bd8-b764-0ad6c193d33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49ab8b6-ff35-4a4f-9f18-9cef83ce6420"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8b03620c-fac2-4011-801c-19735e004c3b}" ma:internalName="TaxCatchAll" ma:showField="CatchAllData" ma:web="0f22a05a-b5e2-4bd8-b764-0ad6c193d33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haredContentType xmlns="Microsoft.SharePoint.Taxonomy.ContentTypeSync" SourceId="9119b49b-2cc3-444e-b755-8692f4554da6" ContentTypeId="0x0101" PreviousValue="false"/>
</file>

<file path=customXml/itemProps1.xml><?xml version="1.0" encoding="utf-8"?>
<ds:datastoreItem xmlns:ds="http://schemas.openxmlformats.org/officeDocument/2006/customXml" ds:itemID="{D54E4824-219F-4E10-9EEA-EA03318A9FE2}">
  <ds:schemaRefs>
    <ds:schemaRef ds:uri="http://schemas.microsoft.com/office/2006/documentManagement/types"/>
    <ds:schemaRef ds:uri="http://purl.org/dc/dcmitype/"/>
    <ds:schemaRef ds:uri="749ab8b6-ff35-4a4f-9f18-9cef83ce6420"/>
    <ds:schemaRef ds:uri="http://purl.org/dc/elements/1.1/"/>
    <ds:schemaRef ds:uri="http://schemas.microsoft.com/office/2006/metadata/properties"/>
    <ds:schemaRef ds:uri="0f13f7a7-5a1c-4b07-a3f7-2a8c474a6703"/>
    <ds:schemaRef ds:uri="http://schemas.openxmlformats.org/package/2006/metadata/core-properties"/>
    <ds:schemaRef ds:uri="0f22a05a-b5e2-4bd8-b764-0ad6c193d339"/>
    <ds:schemaRef ds:uri="http://www.w3.org/XML/1998/namespace"/>
    <ds:schemaRef ds:uri="http://purl.org/dc/terms/"/>
    <ds:schemaRef ds:uri="http://schemas.microsoft.com/office/infopath/2007/PartnerControls"/>
  </ds:schemaRefs>
</ds:datastoreItem>
</file>

<file path=customXml/itemProps2.xml><?xml version="1.0" encoding="utf-8"?>
<ds:datastoreItem xmlns:ds="http://schemas.openxmlformats.org/officeDocument/2006/customXml" ds:itemID="{529AFC9C-0EF5-4D73-AC75-234BAC9ADE96}">
  <ds:schemaRefs>
    <ds:schemaRef ds:uri="http://schemas.microsoft.com/sharepoint/v3/contenttype/forms"/>
  </ds:schemaRefs>
</ds:datastoreItem>
</file>

<file path=customXml/itemProps3.xml><?xml version="1.0" encoding="utf-8"?>
<ds:datastoreItem xmlns:ds="http://schemas.openxmlformats.org/officeDocument/2006/customXml" ds:itemID="{24B8D721-0C41-4082-9D40-ED833B4D63E8}"/>
</file>

<file path=customXml/itemProps4.xml><?xml version="1.0" encoding="utf-8"?>
<ds:datastoreItem xmlns:ds="http://schemas.openxmlformats.org/officeDocument/2006/customXml" ds:itemID="{3A46E27F-EC10-4651-9DBE-1F904980C632}">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Fornybar_Norge_PowerPointmal Fullversjon</Template>
  <TotalTime>22</TotalTime>
  <Words>1385</Words>
  <Application>Microsoft Office PowerPoint</Application>
  <PresentationFormat>Egendefinert</PresentationFormat>
  <Paragraphs>323</Paragraphs>
  <Slides>9</Slides>
  <Notes>2</Notes>
  <HiddenSlides>0</HiddenSlides>
  <MMClips>0</MMClips>
  <ScaleCrop>false</ScaleCrop>
  <HeadingPairs>
    <vt:vector size="8" baseType="variant">
      <vt:variant>
        <vt:lpstr>Brukte skrifter</vt:lpstr>
      </vt:variant>
      <vt:variant>
        <vt:i4>2</vt:i4>
      </vt:variant>
      <vt:variant>
        <vt:lpstr>Tema</vt:lpstr>
      </vt:variant>
      <vt:variant>
        <vt:i4>1</vt:i4>
      </vt:variant>
      <vt:variant>
        <vt:lpstr>Innebygde OLE-servere</vt:lpstr>
      </vt:variant>
      <vt:variant>
        <vt:i4>1</vt:i4>
      </vt:variant>
      <vt:variant>
        <vt:lpstr>Lysbildetitler</vt:lpstr>
      </vt:variant>
      <vt:variant>
        <vt:i4>9</vt:i4>
      </vt:variant>
    </vt:vector>
  </HeadingPairs>
  <TitlesOfParts>
    <vt:vector size="13" baseType="lpstr">
      <vt:lpstr>Arial</vt:lpstr>
      <vt:lpstr>Calibri</vt:lpstr>
      <vt:lpstr>Office-tema</vt:lpstr>
      <vt:lpstr>think-cell Slide</vt:lpstr>
      <vt:lpstr>Strømprisindeksen for februar 2025</vt:lpstr>
      <vt:lpstr>Sammenlikning februar-januar</vt:lpstr>
      <vt:lpstr>Sammenligning februar 2025-2024</vt:lpstr>
      <vt:lpstr>Kraftutveksling</vt:lpstr>
      <vt:lpstr>Hva forklarer strømprisene i januar?</vt:lpstr>
      <vt:lpstr>Vedlegg 1: Detaljert regning for januar 2025</vt:lpstr>
      <vt:lpstr>Vedlegg 2: Detaljerte sammenligninger</vt:lpstr>
      <vt:lpstr>Vedlegg 3: Utvikling over tid</vt:lpstr>
      <vt:lpstr>Hva er strømprisindekse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rømprisindeksen - oktober 2023</dc:title>
  <dc:creator>Camilla M. Granheim</dc:creator>
  <cp:lastModifiedBy>Iselin Ekeli Rønningsbakk</cp:lastModifiedBy>
  <cp:revision>1</cp:revision>
  <dcterms:created xsi:type="dcterms:W3CDTF">2023-03-27T08:27:31Z</dcterms:created>
  <dcterms:modified xsi:type="dcterms:W3CDTF">2025-03-11T08:14: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9BDB9F1F1BFE459CB1AB1E20AAA9DB</vt:lpwstr>
  </property>
  <property fmtid="{D5CDD505-2E9C-101B-9397-08002B2CF9AE}" pid="3" name="MediaServiceImageTags">
    <vt:lpwstr/>
  </property>
  <property fmtid="{D5CDD505-2E9C-101B-9397-08002B2CF9AE}" pid="4" name="ComplianceAssetId">
    <vt:lpwstr/>
  </property>
  <property fmtid="{D5CDD505-2E9C-101B-9397-08002B2CF9AE}" pid="5" name="_ExtendedDescription">
    <vt:lpwstr/>
  </property>
  <property fmtid="{D5CDD505-2E9C-101B-9397-08002B2CF9AE}" pid="6" name="_activity">
    <vt:lpwstr>{"FileActivityType":"11","FileActivityTimeStamp":"2023-11-06T14:19:37.493Z","FileActivityUsersOnPage":[{"DisplayName":"Iselin Ekeli Rønningsbakk","Id":"iselin.ronningsbakk@fornybarnorge.no"},{"DisplayName":"Lars Tennbakk Bockman","Id":"lars.bockman@fornybarnorge.no"}],"FileActivityNavigationId":null}</vt:lpwstr>
  </property>
  <property fmtid="{D5CDD505-2E9C-101B-9397-08002B2CF9AE}" pid="7" name="TriggerFlowInfo">
    <vt:lpwstr/>
  </property>
</Properties>
</file>